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2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9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2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1"/>
  </p:sldMasterIdLst>
  <p:notesMasterIdLst>
    <p:notesMasterId r:id="rId22"/>
  </p:notesMasterIdLst>
  <p:handoutMasterIdLst>
    <p:handoutMasterId r:id="rId23"/>
  </p:handoutMasterIdLst>
  <p:sldIdLst>
    <p:sldId id="313" r:id="rId2"/>
    <p:sldId id="355" r:id="rId3"/>
    <p:sldId id="351" r:id="rId4"/>
    <p:sldId id="356" r:id="rId5"/>
    <p:sldId id="363" r:id="rId6"/>
    <p:sldId id="318" r:id="rId7"/>
    <p:sldId id="316" r:id="rId8"/>
    <p:sldId id="352" r:id="rId9"/>
    <p:sldId id="361" r:id="rId10"/>
    <p:sldId id="357" r:id="rId11"/>
    <p:sldId id="353" r:id="rId12"/>
    <p:sldId id="331" r:id="rId13"/>
    <p:sldId id="360" r:id="rId14"/>
    <p:sldId id="359" r:id="rId15"/>
    <p:sldId id="364" r:id="rId16"/>
    <p:sldId id="366" r:id="rId17"/>
    <p:sldId id="367" r:id="rId18"/>
    <p:sldId id="368" r:id="rId19"/>
    <p:sldId id="369" r:id="rId20"/>
    <p:sldId id="350" r:id="rId21"/>
  </p:sldIdLst>
  <p:sldSz cx="12192000" cy="6858000"/>
  <p:notesSz cx="6797675" cy="9928225"/>
  <p:custDataLst>
    <p:tags r:id="rId24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dvolená sekcia" id="{9418B8C1-5481-4494-83C7-2E517CCA3D70}">
          <p14:sldIdLst>
            <p14:sldId id="313"/>
            <p14:sldId id="355"/>
            <p14:sldId id="351"/>
            <p14:sldId id="356"/>
            <p14:sldId id="363"/>
            <p14:sldId id="318"/>
            <p14:sldId id="316"/>
            <p14:sldId id="352"/>
            <p14:sldId id="361"/>
            <p14:sldId id="357"/>
            <p14:sldId id="353"/>
            <p14:sldId id="331"/>
            <p14:sldId id="360"/>
            <p14:sldId id="359"/>
            <p14:sldId id="364"/>
            <p14:sldId id="366"/>
            <p14:sldId id="367"/>
            <p14:sldId id="368"/>
            <p14:sldId id="369"/>
            <p14:sldId id="35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96" userDrawn="1">
          <p15:clr>
            <a:srgbClr val="A4A3A4"/>
          </p15:clr>
        </p15:guide>
        <p15:guide id="3" pos="398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olakova Kamila" initials="ZK" lastIdx="9" clrIdx="0">
    <p:extLst>
      <p:ext uri="{19B8F6BF-5375-455C-9EA6-DF929625EA0E}">
        <p15:presenceInfo xmlns:p15="http://schemas.microsoft.com/office/powerpoint/2012/main" userId="S-1-5-21-1547161642-1614895754-725345543-1498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E20074"/>
    <a:srgbClr val="FFEFF7"/>
    <a:srgbClr val="FFE1F0"/>
    <a:srgbClr val="FFD9EC"/>
    <a:srgbClr val="99FF66"/>
    <a:srgbClr val="CCFF33"/>
    <a:srgbClr val="BABD5A"/>
    <a:srgbClr val="FDD167"/>
    <a:srgbClr val="9F4C97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14" autoAdjust="0"/>
    <p:restoredTop sz="86766" autoAdjust="0"/>
  </p:normalViewPr>
  <p:slideViewPr>
    <p:cSldViewPr snapToGrid="0" snapToObjects="1" showGuides="1">
      <p:cViewPr varScale="1">
        <p:scale>
          <a:sx n="101" d="100"/>
          <a:sy n="101" d="100"/>
        </p:scale>
        <p:origin x="1506" y="10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73" d="100"/>
          <a:sy n="73" d="100"/>
        </p:scale>
        <p:origin x="-2214" y="-114"/>
      </p:cViewPr>
      <p:guideLst>
        <p:guide orient="horz" pos="3127"/>
        <p:guide pos="296"/>
        <p:guide pos="39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heme" Target="../theme/theme3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3529" y="9358434"/>
            <a:ext cx="1102038" cy="28027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B585A303-9479-4B0B-B47E-DB790CC70286}" type="datetime1">
              <a:rPr lang="sk-SK" smtClean="0"/>
              <a:t>7.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71216" y="9358434"/>
            <a:ext cx="4481115" cy="28027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sk-SK" dirty="0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092370" y="9358434"/>
            <a:ext cx="469697" cy="2802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8" name="Picture 8" descr="T_Logo_3c_Slogan_p_S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6937"/>
          <a:stretch>
            <a:fillRect/>
          </a:stretch>
        </p:blipFill>
        <p:spPr bwMode="auto">
          <a:xfrm>
            <a:off x="469697" y="164778"/>
            <a:ext cx="679463" cy="258716"/>
          </a:xfrm>
          <a:prstGeom prst="rect">
            <a:avLst/>
          </a:prstGeom>
          <a:noFill/>
        </p:spPr>
      </p:pic>
      <p:pic>
        <p:nvPicPr>
          <p:cNvPr id="10" name="Picture 9" descr="T_Logo_3c_Slogan_p_SK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5953"/>
          <a:stretch>
            <a:fillRect/>
          </a:stretch>
        </p:blipFill>
        <p:spPr bwMode="auto">
          <a:xfrm>
            <a:off x="5475229" y="164778"/>
            <a:ext cx="852750" cy="2587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88480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heme" Target="../theme/theme2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69913" y="982663"/>
            <a:ext cx="7907338" cy="444817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5571" tIns="47786" rIns="95571" bIns="47786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62096" y="5593193"/>
            <a:ext cx="5867403" cy="36312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5048" y="9358434"/>
            <a:ext cx="1102039" cy="28027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71216" y="9358434"/>
            <a:ext cx="4481115" cy="28027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sk-SK" dirty="0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093892" y="9358434"/>
            <a:ext cx="469696" cy="280276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11" name="Picture 8" descr="T_Logo_3c_Slogan_p_S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6937"/>
          <a:stretch>
            <a:fillRect/>
          </a:stretch>
        </p:blipFill>
        <p:spPr bwMode="auto">
          <a:xfrm>
            <a:off x="469697" y="164778"/>
            <a:ext cx="679463" cy="258716"/>
          </a:xfrm>
          <a:prstGeom prst="rect">
            <a:avLst/>
          </a:prstGeom>
          <a:noFill/>
        </p:spPr>
      </p:pic>
      <p:pic>
        <p:nvPicPr>
          <p:cNvPr id="14" name="Picture 9" descr="T_Logo_3c_Slogan_p_SK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5953"/>
          <a:stretch>
            <a:fillRect/>
          </a:stretch>
        </p:blipFill>
        <p:spPr bwMode="auto">
          <a:xfrm>
            <a:off x="5475229" y="164778"/>
            <a:ext cx="852750" cy="2587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474920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8660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69980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 smtClean="0"/>
              <a:t>Osobné, </a:t>
            </a:r>
            <a:r>
              <a:rPr lang="sk-SK" dirty="0" err="1" smtClean="0"/>
              <a:t>facebookové</a:t>
            </a:r>
            <a:r>
              <a:rPr lang="sk-SK" dirty="0" smtClean="0"/>
              <a:t> a anonymné</a:t>
            </a:r>
            <a:r>
              <a:rPr lang="sk-SK" baseline="0" dirty="0" smtClean="0"/>
              <a:t> / všetko bez vyzvania (čiže mimo dotazníkovej formy)</a:t>
            </a: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3096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9D678C36-0B77-4284-B446-607BF5346D61}" type="datetimeFigureOut">
              <a:rPr lang="de-DE"/>
              <a:pPr/>
              <a:t>07.01.2020</a:t>
            </a:fld>
            <a:endParaRPr lang="de-DE"/>
          </a:p>
        </p:txBody>
      </p:sp>
      <p:sp>
        <p:nvSpPr>
          <p:cNvPr id="138242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3824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7070398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00505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9D678C36-0B77-4284-B446-607BF5346D61}" type="datetimeFigureOut">
              <a:rPr lang="de-DE"/>
              <a:pPr/>
              <a:t>07.01.2020</a:t>
            </a:fld>
            <a:endParaRPr lang="de-DE"/>
          </a:p>
        </p:txBody>
      </p:sp>
      <p:sp>
        <p:nvSpPr>
          <p:cNvPr id="138242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3824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069593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07.01.2020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10759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693B0FEA-E124-4ED0-ADE5-197012C05283}" type="datetimeFigureOut">
              <a:rPr lang="de-DE"/>
              <a:pPr/>
              <a:t>07.01.2020</a:t>
            </a:fld>
            <a:endParaRPr lang="de-DE"/>
          </a:p>
        </p:txBody>
      </p:sp>
      <p:sp>
        <p:nvSpPr>
          <p:cNvPr id="113666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13667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890294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70715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9D678C36-0B77-4284-B446-607BF5346D61}" type="datetimeFigureOut">
              <a:rPr lang="de-DE"/>
              <a:pPr/>
              <a:t>07.01.2020</a:t>
            </a:fld>
            <a:endParaRPr lang="de-DE"/>
          </a:p>
        </p:txBody>
      </p:sp>
      <p:sp>
        <p:nvSpPr>
          <p:cNvPr id="138242" name="Rectangle 2"/>
          <p:cNvSpPr>
            <a:spLocks noGrp="1" noRot="1" noChangeAspec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</p:spPr>
      </p:sp>
      <p:sp>
        <p:nvSpPr>
          <p:cNvPr id="13824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3779978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121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661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193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fld id="{17599462-D5D7-487A-A0BB-CF8097FACC72}" type="datetime1">
              <a:rPr lang="sk-SK" smtClean="0"/>
              <a:t>7.1.2020</a:t>
            </a:fld>
            <a:endParaRPr lang="de-DE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smtClean="0"/>
              <a:t>– mimoriadne citlivé / citlivé / interné / verejné –                    Autor / Názov prezentácie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3995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3.emf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8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tags" Target="../tags/tag74.xml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tags" Target="../tags/tag73.xml"/><Relationship Id="rId17" Type="http://schemas.openxmlformats.org/officeDocument/2006/relationships/image" Target="../media/image8.emf"/><Relationship Id="rId2" Type="http://schemas.openxmlformats.org/officeDocument/2006/relationships/tags" Target="../tags/tag63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1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image" Target="../media/image1.emf"/><Relationship Id="rId5" Type="http://schemas.openxmlformats.org/officeDocument/2006/relationships/tags" Target="../tags/tag2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3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8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5" Type="http://schemas.openxmlformats.org/officeDocument/2006/relationships/image" Target="../media/image7.emf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ulka -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06400" y="1773239"/>
            <a:ext cx="11328400" cy="1661993"/>
          </a:xfrm>
        </p:spPr>
        <p:txBody>
          <a:bodyPr/>
          <a:lstStyle>
            <a:lvl1pPr>
              <a:defRPr sz="6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Kliknite sem a </a:t>
            </a:r>
            <a:br>
              <a:rPr lang="sk-SK" noProof="0" dirty="0" smtClean="0"/>
            </a:br>
            <a:r>
              <a:rPr lang="sk-SK" noProof="0" dirty="0" smtClean="0"/>
              <a:t>zadajte nadpis.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 bwMode="black">
          <a:xfrm>
            <a:off x="406400" y="3676650"/>
            <a:ext cx="11328400" cy="332399"/>
          </a:xfrm>
        </p:spPr>
        <p:txBody>
          <a:bodyPr>
            <a:spAutoFit/>
          </a:bodyPr>
          <a:lstStyle>
            <a:lvl1pPr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sk-SK" noProof="0" dirty="0" smtClean="0"/>
              <a:t>Kliknite sem a zadajte podnadpis a popis prezentácie.</a:t>
            </a:r>
          </a:p>
        </p:txBody>
      </p:sp>
      <p:pic>
        <p:nvPicPr>
          <p:cNvPr id="7" name="Picture 38" descr="T_Logo_3c_Slogan_n_SK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0"/>
          <a:srcRect r="55107"/>
          <a:stretch>
            <a:fillRect/>
          </a:stretch>
        </p:blipFill>
        <p:spPr bwMode="black">
          <a:xfrm>
            <a:off x="431801" y="6138864"/>
            <a:ext cx="1460500" cy="395287"/>
          </a:xfrm>
          <a:prstGeom prst="rect">
            <a:avLst/>
          </a:prstGeom>
          <a:noFill/>
        </p:spPr>
      </p:pic>
      <p:pic>
        <p:nvPicPr>
          <p:cNvPr id="8" name="Picture 39" descr="T_Logo_3c_Slogan_n_SK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/>
          <a:srcRect l="47755"/>
          <a:stretch>
            <a:fillRect/>
          </a:stretch>
        </p:blipFill>
        <p:spPr bwMode="black">
          <a:xfrm>
            <a:off x="10071101" y="6138864"/>
            <a:ext cx="1699684" cy="3952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stl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06399" y="1773238"/>
            <a:ext cx="56007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84899" y="1773238"/>
            <a:ext cx="5549900" cy="4284662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3C519058-10AE-44B1-BB32-0970126EA012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sk-SK" noProof="0" smtClean="0"/>
              <a:pPr/>
              <a:t>‹#›</a:t>
            </a:fld>
            <a:endParaRPr lang="sk-SK" noProof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l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86C00513-C2AE-4027-933C-69F989036294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sk-SK" noProof="0" smtClean="0"/>
              <a:pPr/>
              <a:t>‹#›</a:t>
            </a:fld>
            <a:endParaRPr lang="sk-SK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l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9D60799A-BA1A-4101-8E4D-5D2FDED944EC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sk-SK" noProof="0" smtClean="0"/>
              <a:pPr/>
              <a:t>‹#›</a:t>
            </a:fld>
            <a:endParaRPr lang="sk-SK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cia - sedy pre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9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rgbClr val="6666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sk-SK" noProof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 bwMode="black">
          <a:xfrm>
            <a:off x="406400" y="1773239"/>
            <a:ext cx="11328400" cy="830997"/>
          </a:xfrm>
        </p:spPr>
        <p:txBody>
          <a:bodyPr/>
          <a:lstStyle>
            <a:lvl1pPr>
              <a:defRPr sz="6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Navigačný panel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387668" y="6431564"/>
            <a:ext cx="385233" cy="138499"/>
          </a:xfrm>
        </p:spPr>
        <p:txBody>
          <a:bodyPr/>
          <a:lstStyle/>
          <a:p>
            <a:fld id="{DC074D37-AEB9-46CA-B316-7CBCC268AF09}" type="slidenum">
              <a:rPr lang="sk-SK" noProof="0" smtClean="0"/>
              <a:pPr/>
              <a:t>‹#›</a:t>
            </a:fld>
            <a:endParaRPr lang="sk-SK" noProof="0"/>
          </a:p>
        </p:txBody>
      </p:sp>
      <p:sp>
        <p:nvSpPr>
          <p:cNvPr id="8" name="Rectangle 6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14867" y="6442457"/>
            <a:ext cx="636713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DONEC QUAM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521885" y="6442457"/>
            <a:ext cx="675185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rgbClr val="E20074"/>
                </a:solidFill>
                <a:latin typeface="Tele-GroteskUlt" pitchFamily="2" charset="0"/>
              </a:rPr>
              <a:t>LOREM IPSUM </a:t>
            </a:r>
            <a:endParaRPr lang="en-US" sz="900" dirty="0">
              <a:solidFill>
                <a:srgbClr val="E20074"/>
              </a:solidFill>
              <a:latin typeface="Tele-GroteskUlt" pitchFamily="2" charset="0"/>
            </a:endParaRPr>
          </a:p>
        </p:txBody>
      </p:sp>
      <p:sp>
        <p:nvSpPr>
          <p:cNvPr id="10" name="Rectangle 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675467" y="6442457"/>
            <a:ext cx="777777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NULLAM DICTUM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3975100" y="6442457"/>
            <a:ext cx="532518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COMMODO 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2" name="Rectangle 10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4942418" y="6442457"/>
            <a:ext cx="97174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PHASELLUS VIVERRA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3" name="Rectangle 11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6493934" y="6442457"/>
            <a:ext cx="82105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ETIAM ULTRICIES 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4" name="Rectangle 12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7846485" y="6442457"/>
            <a:ext cx="84830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QUISQUE RUTRUM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c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19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sk-SK" noProof="0" smtClean="0"/>
              <a:pPr/>
              <a:t>‹#›</a:t>
            </a:fld>
            <a:endParaRPr lang="sk-SK" noProof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057900"/>
            <a:ext cx="11281833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noAutofit/>
          </a:bodyPr>
          <a:lstStyle/>
          <a:p>
            <a:endParaRPr lang="sk-SK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6"/>
            </p:custDataLst>
          </p:nvPr>
        </p:nvSpPr>
        <p:spPr>
          <a:xfrm>
            <a:off x="428623" y="1773238"/>
            <a:ext cx="11328400" cy="45751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9" name="Rectangle 6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414867" y="6442457"/>
            <a:ext cx="636713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DONEC QUAM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1521885" y="6442457"/>
            <a:ext cx="675185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LOREM IPSUM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2675467" y="6442457"/>
            <a:ext cx="777777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rgbClr val="E20074"/>
                </a:solidFill>
                <a:latin typeface="Tele-GroteskUlt" pitchFamily="2" charset="0"/>
              </a:rPr>
              <a:t>NULLAM DICTUM</a:t>
            </a:r>
            <a:endParaRPr lang="en-US" sz="900">
              <a:solidFill>
                <a:srgbClr val="E20074"/>
              </a:solidFill>
              <a:latin typeface="Tele-GroteskUlt" pitchFamily="2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3975100" y="6442457"/>
            <a:ext cx="532518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COMMODO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4942418" y="6442457"/>
            <a:ext cx="97174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PHASELLUS VIVERRA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6493934" y="6442457"/>
            <a:ext cx="82105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ETIAM ULTRICIES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5" name="Rectangle 12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7846485" y="6442457"/>
            <a:ext cx="84830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QUISQUE RUTRUM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cia - 2 stl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21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sk-SK" noProof="0" smtClean="0"/>
              <a:pPr/>
              <a:t>‹#›</a:t>
            </a:fld>
            <a:endParaRPr lang="sk-SK" noProof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057900"/>
            <a:ext cx="11281833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noAutofit/>
          </a:bodyPr>
          <a:lstStyle/>
          <a:p>
            <a:endParaRPr lang="sk-SK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  <p:custDataLst>
              <p:tags r:id="rId6"/>
            </p:custDataLst>
          </p:nvPr>
        </p:nvSpPr>
        <p:spPr>
          <a:xfrm>
            <a:off x="406399" y="1773238"/>
            <a:ext cx="5600700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184899" y="1773238"/>
            <a:ext cx="5549900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10" name="Rectangle 6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414867" y="6442457"/>
            <a:ext cx="636713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DONEC QUAM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1" name="Rectangle 7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1521885" y="6442457"/>
            <a:ext cx="675185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LOREM IPSUM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2675467" y="6442457"/>
            <a:ext cx="777777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rgbClr val="E20074"/>
                </a:solidFill>
                <a:latin typeface="Tele-GroteskUlt" pitchFamily="2" charset="0"/>
              </a:rPr>
              <a:t>NULLAM DICTUM</a:t>
            </a:r>
            <a:endParaRPr lang="en-US" sz="900">
              <a:solidFill>
                <a:srgbClr val="E20074"/>
              </a:solidFill>
              <a:latin typeface="Tele-GroteskUlt" pitchFamily="2" charset="0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gray">
          <a:xfrm>
            <a:off x="3975100" y="6442457"/>
            <a:ext cx="532518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COMMODO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4942418" y="6442457"/>
            <a:ext cx="971741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PHASELLUS VIVERRA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6493934" y="6442457"/>
            <a:ext cx="82105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ETIAM ULTRICIES 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  <p:sp>
        <p:nvSpPr>
          <p:cNvPr id="16" name="Rectangle 12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gray">
          <a:xfrm>
            <a:off x="7846485" y="6442457"/>
            <a:ext cx="848309" cy="12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marL="1588">
              <a:lnSpc>
                <a:spcPct val="90000"/>
              </a:lnSpc>
            </a:pPr>
            <a:r>
              <a:rPr lang="de-DE" sz="900">
                <a:solidFill>
                  <a:schemeClr val="tx1">
                    <a:lumMod val="65000"/>
                    <a:lumOff val="35000"/>
                  </a:schemeClr>
                </a:solidFill>
                <a:latin typeface="Tele-GroteskUlt" pitchFamily="2" charset="0"/>
              </a:rPr>
              <a:t>QUISQUE RUTRUM</a:t>
            </a:r>
            <a:endParaRPr lang="en-US" sz="900">
              <a:solidFill>
                <a:schemeClr val="tx1">
                  <a:lumMod val="65000"/>
                  <a:lumOff val="35000"/>
                </a:schemeClr>
              </a:solidFill>
              <a:latin typeface="Tele-GroteskUlt" pitchFamily="2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a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06400" y="1773239"/>
            <a:ext cx="11328400" cy="1661993"/>
          </a:xfrm>
        </p:spPr>
        <p:txBody>
          <a:bodyPr/>
          <a:lstStyle>
            <a:lvl1pPr>
              <a:defRPr sz="6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Ďakujeme </a:t>
            </a:r>
            <a:br>
              <a:rPr lang="sk-SK" noProof="0" dirty="0" smtClean="0"/>
            </a:br>
            <a:r>
              <a:rPr lang="sk-SK" noProof="0" dirty="0" smtClean="0"/>
              <a:t>za pozornosť!</a:t>
            </a:r>
          </a:p>
        </p:txBody>
      </p:sp>
      <p:pic>
        <p:nvPicPr>
          <p:cNvPr id="7" name="Picture 38" descr="T_Logo_3c_Slogan_n_SK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/>
          <a:srcRect r="55107"/>
          <a:stretch>
            <a:fillRect/>
          </a:stretch>
        </p:blipFill>
        <p:spPr bwMode="black">
          <a:xfrm>
            <a:off x="431801" y="6138864"/>
            <a:ext cx="1460500" cy="395287"/>
          </a:xfrm>
          <a:prstGeom prst="rect">
            <a:avLst/>
          </a:prstGeom>
          <a:noFill/>
        </p:spPr>
      </p:pic>
      <p:pic>
        <p:nvPicPr>
          <p:cNvPr id="8" name="Picture 39" descr="T_Logo_3c_Slogan_n_SK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/>
          <a:srcRect l="47755"/>
          <a:stretch>
            <a:fillRect/>
          </a:stretch>
        </p:blipFill>
        <p:spPr bwMode="black">
          <a:xfrm>
            <a:off x="10071101" y="6138864"/>
            <a:ext cx="1699684" cy="3952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ulka - s obraz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5" descr="musterbild_1_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/>
          <a:srcRect b="28815"/>
          <a:stretch>
            <a:fillRect/>
          </a:stretch>
        </p:blipFill>
        <p:spPr bwMode="auto">
          <a:xfrm>
            <a:off x="425451" y="327025"/>
            <a:ext cx="11334749" cy="4032250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3"/>
          <a:srcRect r="11" b="-468"/>
          <a:stretch>
            <a:fillRect/>
          </a:stretch>
        </p:blipFill>
        <p:spPr bwMode="ltGray">
          <a:xfrm>
            <a:off x="425451" y="3768726"/>
            <a:ext cx="11334749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ltGray">
          <a:xfrm>
            <a:off x="425451" y="4078288"/>
            <a:ext cx="113284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Kliknite sem a</a:t>
            </a:r>
            <a:br>
              <a:rPr lang="sk-SK" noProof="0" dirty="0" smtClean="0"/>
            </a:br>
            <a:r>
              <a:rPr lang="sk-SK" noProof="0" dirty="0" smtClean="0"/>
              <a:t>zadajte nadpis.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 bwMode="white">
          <a:xfrm>
            <a:off x="624000" y="5158801"/>
            <a:ext cx="11328400" cy="332399"/>
          </a:xfrm>
        </p:spPr>
        <p:txBody>
          <a:bodyPr lIns="0">
            <a:spAutoFit/>
          </a:bodyPr>
          <a:lstStyle>
            <a:lvl1pPr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sk-SK" noProof="0" dirty="0" smtClean="0"/>
              <a:t>Kliknite sem a zadajte podnadpis, prípadne stručný popis prezentácie.</a:t>
            </a:r>
          </a:p>
        </p:txBody>
      </p:sp>
      <p:pic>
        <p:nvPicPr>
          <p:cNvPr id="9" name="Picture 60" descr="T_Logo_3c_Slogan_p_SK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/>
          <a:srcRect r="57889"/>
          <a:stretch>
            <a:fillRect/>
          </a:stretch>
        </p:blipFill>
        <p:spPr bwMode="black">
          <a:xfrm>
            <a:off x="431801" y="6138150"/>
            <a:ext cx="1375833" cy="396000"/>
          </a:xfrm>
          <a:prstGeom prst="rect">
            <a:avLst/>
          </a:prstGeom>
          <a:noFill/>
        </p:spPr>
      </p:pic>
      <p:pic>
        <p:nvPicPr>
          <p:cNvPr id="12" name="Picture 60" descr="T_Logo_3c_Slogan_p_SK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/>
          <a:srcRect l="44132"/>
          <a:stretch>
            <a:fillRect/>
          </a:stretch>
        </p:blipFill>
        <p:spPr bwMode="black">
          <a:xfrm>
            <a:off x="9945469" y="6138150"/>
            <a:ext cx="1825315" cy="396000"/>
          </a:xfrm>
          <a:prstGeom prst="rect">
            <a:avLst/>
          </a:prstGeom>
          <a:noFill/>
        </p:spPr>
      </p:pic>
      <p:sp>
        <p:nvSpPr>
          <p:cNvPr id="13" name="BlokTextu 12"/>
          <p:cNvSpPr txBox="1"/>
          <p:nvPr userDrawn="1"/>
        </p:nvSpPr>
        <p:spPr>
          <a:xfrm>
            <a:off x="431800" y="96193"/>
            <a:ext cx="869231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sk-SK" dirty="0" smtClean="0"/>
              <a:t>Ako</a:t>
            </a:r>
            <a:r>
              <a:rPr lang="sk-SK" baseline="0" dirty="0" smtClean="0"/>
              <a:t> zmeniť obrázok? Kliknite na Zobraziť – Predloha snímky. Tu ho môžete vymazať a nastaviť nový.  </a:t>
            </a:r>
            <a:endParaRPr lang="sk-SK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ulka - bez obrazk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7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425452" y="4402139"/>
            <a:ext cx="11347449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sk-SK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425452" y="3340101"/>
            <a:ext cx="10915649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sk-SK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ltGray">
          <a:xfrm>
            <a:off x="425451" y="3608975"/>
            <a:ext cx="103152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Kliknite sem a</a:t>
            </a:r>
            <a:br>
              <a:rPr lang="sk-SK" noProof="0" dirty="0" smtClean="0"/>
            </a:br>
            <a:r>
              <a:rPr lang="sk-SK" noProof="0" dirty="0" smtClean="0"/>
              <a:t>zadajte nadpis.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 bwMode="white">
          <a:xfrm>
            <a:off x="624000" y="4942801"/>
            <a:ext cx="10116651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sk-SK" noProof="0" dirty="0" smtClean="0"/>
              <a:t>Kliknite a zadajte podnadpis, prípadne stručný popis prezentácie.</a:t>
            </a:r>
          </a:p>
        </p:txBody>
      </p:sp>
      <p:pic>
        <p:nvPicPr>
          <p:cNvPr id="9" name="Picture 60" descr="T_Logo_3c_Slogan_p_SK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/>
          <a:srcRect r="57889"/>
          <a:stretch>
            <a:fillRect/>
          </a:stretch>
        </p:blipFill>
        <p:spPr bwMode="black">
          <a:xfrm>
            <a:off x="431801" y="6138150"/>
            <a:ext cx="1375833" cy="396000"/>
          </a:xfrm>
          <a:prstGeom prst="rect">
            <a:avLst/>
          </a:prstGeom>
          <a:noFill/>
        </p:spPr>
      </p:pic>
      <p:pic>
        <p:nvPicPr>
          <p:cNvPr id="10" name="Picture 60" descr="T_Logo_3c_Slogan_p_SK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2"/>
          <a:srcRect l="44132"/>
          <a:stretch>
            <a:fillRect/>
          </a:stretch>
        </p:blipFill>
        <p:spPr bwMode="black">
          <a:xfrm>
            <a:off x="9945469" y="6138150"/>
            <a:ext cx="1825315" cy="396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ulka - s velkym obraz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89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3" descr="Layer_E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/>
          <a:srcRect r="18"/>
          <a:stretch>
            <a:fillRect/>
          </a:stretch>
        </p:blipFill>
        <p:spPr bwMode="auto">
          <a:xfrm>
            <a:off x="0" y="1"/>
            <a:ext cx="12192000" cy="6867525"/>
          </a:xfrm>
          <a:prstGeom prst="rect">
            <a:avLst/>
          </a:prstGeom>
          <a:noFill/>
        </p:spPr>
      </p:pic>
      <p:sp>
        <p:nvSpPr>
          <p:cNvPr id="13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425452" y="4402138"/>
            <a:ext cx="11347449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sk-SK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5"/>
            </p:custDataLst>
          </p:nvPr>
        </p:nvSpPr>
        <p:spPr bwMode="invGray">
          <a:xfrm>
            <a:off x="425452" y="3340100"/>
            <a:ext cx="10915649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sk-SK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6"/>
            </p:custDataLst>
          </p:nvPr>
        </p:nvSpPr>
        <p:spPr bwMode="ltGray">
          <a:xfrm>
            <a:off x="425451" y="3608975"/>
            <a:ext cx="103152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k-SK" sz="4000" b="0" i="0" u="none" strike="noStrike" kern="1200" cap="none" spc="0" normalizeH="0" baseline="0" noProof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7"/>
            </p:custDataLst>
          </p:nvPr>
        </p:nvSpPr>
        <p:spPr bwMode="white">
          <a:xfrm>
            <a:off x="425451" y="3608974"/>
            <a:ext cx="10315200" cy="1107996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Kliknite sem a </a:t>
            </a:r>
            <a:br>
              <a:rPr lang="sk-SK" noProof="0" dirty="0" smtClean="0"/>
            </a:br>
            <a:r>
              <a:rPr lang="sk-SK" noProof="0" dirty="0" smtClean="0"/>
              <a:t>zadajte nadpis.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 bwMode="white">
          <a:xfrm>
            <a:off x="624000" y="4942801"/>
            <a:ext cx="10116651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sk-SK" noProof="0" dirty="0" smtClean="0"/>
              <a:t>Kliknite a zadajte podnadpis, prípadne stručný popis prezentácie.</a:t>
            </a:r>
          </a:p>
        </p:txBody>
      </p:sp>
      <p:pic>
        <p:nvPicPr>
          <p:cNvPr id="11" name="Picture 6" descr="T_Logo_3c_Slogan_n_A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/>
          <a:srcRect r="70161"/>
          <a:stretch>
            <a:fillRect/>
          </a:stretch>
        </p:blipFill>
        <p:spPr bwMode="black">
          <a:xfrm>
            <a:off x="645584" y="5964239"/>
            <a:ext cx="1253067" cy="396875"/>
          </a:xfrm>
          <a:prstGeom prst="rect">
            <a:avLst/>
          </a:prstGeom>
          <a:noFill/>
        </p:spPr>
      </p:pic>
      <p:pic>
        <p:nvPicPr>
          <p:cNvPr id="16" name="Picture 39" descr="T_Logo_3c_Slogan_n_SK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6"/>
          <a:srcRect l="47755"/>
          <a:stretch>
            <a:fillRect/>
          </a:stretch>
        </p:blipFill>
        <p:spPr bwMode="black">
          <a:xfrm>
            <a:off x="9870017" y="5965827"/>
            <a:ext cx="1699684" cy="395287"/>
          </a:xfrm>
          <a:prstGeom prst="rect">
            <a:avLst/>
          </a:prstGeom>
          <a:noFill/>
        </p:spPr>
      </p:pic>
      <p:sp>
        <p:nvSpPr>
          <p:cNvPr id="12" name="BlokTextu 11"/>
          <p:cNvSpPr txBox="1"/>
          <p:nvPr userDrawn="1"/>
        </p:nvSpPr>
        <p:spPr>
          <a:xfrm>
            <a:off x="431800" y="211609"/>
            <a:ext cx="8692316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None/>
            </a:pPr>
            <a:r>
              <a:rPr lang="sk-SK" dirty="0" smtClean="0"/>
              <a:t>Ako</a:t>
            </a:r>
            <a:r>
              <a:rPr lang="sk-SK" baseline="0" dirty="0" smtClean="0"/>
              <a:t> zmeniť obrázok? Kliknite na </a:t>
            </a:r>
            <a:r>
              <a:rPr lang="sk-SK" baseline="0" dirty="0" smtClean="0">
                <a:solidFill>
                  <a:schemeClr val="tx1"/>
                </a:solidFill>
              </a:rPr>
              <a:t>Zobraziť – Predloha snímky</a:t>
            </a:r>
            <a:r>
              <a:rPr lang="sk-SK" baseline="0" dirty="0" smtClean="0"/>
              <a:t>. Tu ho môžete vymazať a nastaviť nový.  </a:t>
            </a:r>
            <a:endParaRPr lang="sk-SK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delova snimka -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9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06400" y="1773239"/>
            <a:ext cx="11328400" cy="830997"/>
          </a:xfrm>
        </p:spPr>
        <p:txBody>
          <a:bodyPr/>
          <a:lstStyle>
            <a:lvl1pPr>
              <a:defRPr sz="6000" baseline="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Predelová snímka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delova snimka - seda">
    <p:bg>
      <p:bgPr>
        <a:solidFill>
          <a:srgbClr val="6666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9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 bwMode="black">
          <a:xfrm>
            <a:off x="406400" y="1773239"/>
            <a:ext cx="11328400" cy="830997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sk-SK" noProof="0" dirty="0" smtClean="0"/>
              <a:t>Predelová snímka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ista stra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3286861C-D025-4A47-9225-CD1EAD947A2C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sk-SK" noProof="0" smtClean="0"/>
              <a:pPr/>
              <a:t>‹#›</a:t>
            </a:fld>
            <a:endParaRPr lang="sk-SK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ranka s nad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4C59F301-E984-49CA-93DD-9865E3CF7A89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sk-SK" noProof="0" smtClean="0"/>
              <a:pPr/>
              <a:t>‹#›</a:t>
            </a:fld>
            <a:endParaRPr lang="sk-SK" noProof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ranka s tex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k-SK" noProof="0" dirty="0" smtClean="0"/>
              <a:t>Zadajte nadpis.</a:t>
            </a:r>
            <a:endParaRPr lang="sk-SK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25448" y="1773238"/>
            <a:ext cx="11328400" cy="4283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sk-SK" noProof="0" dirty="0" smtClean="0"/>
              <a:t>Kliknite sem a zadajte text.</a:t>
            </a:r>
          </a:p>
          <a:p>
            <a:pPr lvl="1"/>
            <a:r>
              <a:rPr lang="sk-SK" noProof="0" dirty="0" smtClean="0"/>
              <a:t>Druhá úroveň</a:t>
            </a:r>
          </a:p>
          <a:p>
            <a:pPr lvl="2"/>
            <a:r>
              <a:rPr lang="sk-SK" noProof="0" dirty="0" smtClean="0"/>
              <a:t>Tretia úroveň</a:t>
            </a:r>
          </a:p>
          <a:p>
            <a:pPr lvl="3"/>
            <a:r>
              <a:rPr lang="sk-SK" noProof="0" dirty="0" smtClean="0"/>
              <a:t>Štvrtá úroveň</a:t>
            </a:r>
          </a:p>
          <a:p>
            <a:pPr lvl="4"/>
            <a:r>
              <a:rPr lang="sk-SK" noProof="0" dirty="0" smtClean="0"/>
              <a:t>Piata úroveň</a:t>
            </a:r>
            <a:endParaRPr lang="sk-SK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F9978557-742D-4FFB-A4DC-9DD5E3512A91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sk-SK" noProof="0" smtClean="0"/>
              <a:pPr/>
              <a:t>‹#›</a:t>
            </a:fld>
            <a:endParaRPr lang="sk-SK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406400" y="333375"/>
            <a:ext cx="113284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sk-SK" noProof="0" dirty="0" smtClean="0"/>
              <a:t>nadpis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406400" y="1773238"/>
            <a:ext cx="113284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k-SK" noProof="0" dirty="0" smtClean="0"/>
              <a:t>Prvý riadok</a:t>
            </a:r>
          </a:p>
          <a:p>
            <a:pPr lvl="1"/>
            <a:r>
              <a:rPr lang="sk-SK" noProof="0" dirty="0" smtClean="0"/>
              <a:t>Druhý riadok</a:t>
            </a:r>
          </a:p>
          <a:p>
            <a:pPr lvl="2"/>
            <a:r>
              <a:rPr lang="sk-SK" noProof="0" dirty="0" smtClean="0"/>
              <a:t>Odrážka</a:t>
            </a:r>
          </a:p>
          <a:p>
            <a:pPr lvl="3"/>
            <a:r>
              <a:rPr lang="sk-SK" noProof="0" dirty="0" smtClean="0"/>
              <a:t>Odrážka</a:t>
            </a:r>
          </a:p>
          <a:p>
            <a:pPr lvl="4"/>
            <a:r>
              <a:rPr lang="sk-SK" noProof="0" dirty="0" smtClean="0"/>
              <a:t>Odrážk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9072034" y="6431564"/>
            <a:ext cx="240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983C91AD-A93C-4BEF-BF1C-D29F59B0BEC3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3589866" y="6431564"/>
            <a:ext cx="528955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sk-SK" noProof="0" smtClean="0"/>
              <a:pPr/>
              <a:t>‹#›</a:t>
            </a:fld>
            <a:endParaRPr lang="sk-SK" noProof="0"/>
          </a:p>
        </p:txBody>
      </p:sp>
      <p:pic>
        <p:nvPicPr>
          <p:cNvPr id="9" name="Picture 60" descr="T_Logo_3c_Slogan_p_SK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8"/>
          <a:srcRect/>
          <a:stretch>
            <a:fillRect/>
          </a:stretch>
        </p:blipFill>
        <p:spPr bwMode="black">
          <a:xfrm>
            <a:off x="431800" y="6348414"/>
            <a:ext cx="2370667" cy="28733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6" r:id="rId13"/>
    <p:sldLayoutId id="2147483762" r:id="rId14"/>
    <p:sldLayoutId id="2147483763" r:id="rId15"/>
    <p:sldLayoutId id="2147483767" r:id="rId16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 baseline="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7" Type="http://schemas.openxmlformats.org/officeDocument/2006/relationships/image" Target="../media/image2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jpg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JPG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8.xml"/><Relationship Id="rId7" Type="http://schemas.openxmlformats.org/officeDocument/2006/relationships/oleObject" Target="../embeddings/oleObject13.bin"/><Relationship Id="rId2" Type="http://schemas.openxmlformats.org/officeDocument/2006/relationships/tags" Target="../tags/tag87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#</a:t>
            </a:r>
            <a:r>
              <a:rPr lang="en-US" b="1" dirty="0" err="1"/>
              <a:t>nezivimpredsudky</a:t>
            </a:r>
            <a:r>
              <a:rPr lang="en-US" b="1" dirty="0"/>
              <a:t/>
            </a:r>
            <a:br>
              <a:rPr lang="en-US" b="1" dirty="0"/>
            </a:br>
            <a:endParaRPr lang="sk-SK" dirty="0"/>
          </a:p>
        </p:txBody>
      </p:sp>
      <p:sp>
        <p:nvSpPr>
          <p:cNvPr id="5" name="Podnadpis 4"/>
          <p:cNvSpPr>
            <a:spLocks noGrp="1"/>
          </p:cNvSpPr>
          <p:nvPr>
            <p:ph type="subTitle" idx="1"/>
          </p:nvPr>
        </p:nvSpPr>
        <p:spPr>
          <a:xfrm>
            <a:off x="596290" y="4365477"/>
            <a:ext cx="10116651" cy="332399"/>
          </a:xfrm>
        </p:spPr>
        <p:txBody>
          <a:bodyPr/>
          <a:lstStyle/>
          <a:p>
            <a:r>
              <a:rPr lang="sk-SK" dirty="0" smtClean="0"/>
              <a:t>V čom som iný ako ty, zažime to na vlastnej koži</a:t>
            </a:r>
            <a:endParaRPr lang="sk-SK" dirty="0" smtClean="0"/>
          </a:p>
        </p:txBody>
      </p:sp>
    </p:spTree>
    <p:extLst>
      <p:ext uri="{BB962C8B-B14F-4D97-AF65-F5344CB8AC3E}">
        <p14:creationId xmlns:p14="http://schemas.microsoft.com/office/powerpoint/2010/main" val="2471453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1246495"/>
          </a:xfrm>
        </p:spPr>
        <p:txBody>
          <a:bodyPr/>
          <a:lstStyle/>
          <a:p>
            <a:r>
              <a:rPr lang="sk-SK" dirty="0"/>
              <a:t>AKCIA „V INEJ KOŽI“</a:t>
            </a:r>
            <a:br>
              <a:rPr lang="sk-SK" dirty="0"/>
            </a:br>
            <a:r>
              <a:rPr lang="sk-SK" dirty="0"/>
              <a:t>               Príbehmi k poznaniu – zažime to spolu</a:t>
            </a:r>
            <a:br>
              <a:rPr lang="sk-SK" dirty="0"/>
            </a:br>
            <a:endParaRPr lang="sk-SK" dirty="0"/>
          </a:p>
        </p:txBody>
      </p:sp>
      <p:sp>
        <p:nvSpPr>
          <p:cNvPr id="3" name="Zástupný symbol dátum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9F301-E984-49CA-93DD-9865E3CF7A89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856C3B-4879-44CB-8ACD-F9C43CE31EF6}" type="slidenum">
              <a:rPr lang="sk-SK" noProof="0" smtClean="0"/>
              <a:pPr/>
              <a:t>10</a:t>
            </a:fld>
            <a:endParaRPr lang="sk-SK" noProof="0"/>
          </a:p>
        </p:txBody>
      </p:sp>
      <p:sp>
        <p:nvSpPr>
          <p:cNvPr id="6" name="BlokTextu 5"/>
          <p:cNvSpPr txBox="1"/>
          <p:nvPr/>
        </p:nvSpPr>
        <p:spPr>
          <a:xfrm>
            <a:off x="1171575" y="2190750"/>
            <a:ext cx="9277350" cy="20390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latin typeface="TeleGrotesk Headline" pitchFamily="2" charset="0"/>
              </a:rPr>
              <a:t>V septembri v Deň vďačnosti sme na centrále prekvapili našich kolegov. </a:t>
            </a:r>
            <a:br>
              <a:rPr lang="sk-SK" b="1" dirty="0" smtClean="0">
                <a:latin typeface="TeleGrotesk Headline" pitchFamily="2" charset="0"/>
              </a:rPr>
            </a:br>
            <a:endParaRPr lang="sk-SK" b="1" dirty="0" smtClean="0">
              <a:latin typeface="TeleGrotesk Headline" pitchFamily="2" charset="0"/>
            </a:endParaRP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err="1" smtClean="0">
                <a:latin typeface="TeleGrotesk Headline" pitchFamily="2" charset="0"/>
              </a:rPr>
              <a:t>NevidIaca</a:t>
            </a:r>
            <a:r>
              <a:rPr lang="sk-SK" b="1" dirty="0" smtClean="0">
                <a:latin typeface="TeleGrotesk Headline" pitchFamily="2" charset="0"/>
              </a:rPr>
              <a:t> Soňa, nepočujúci Adam, Dominik na vozíku, Janette s barlami, Veronika nízkeho vzrastu nahradili tradičné pekné, mladé hostesky a zdravili kolegov s malým darčekom pri vstupe do budovy. Najviac asi zaskočil okoloidúcich „náš bezdomovec“. </a:t>
            </a:r>
          </a:p>
          <a:p>
            <a:pPr marL="270000" indent="-270000"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sk-SK" b="1" dirty="0">
              <a:latin typeface="TeleGrotesk Headline" pitchFamily="2" charset="0"/>
            </a:endParaRP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latin typeface="TeleGrotesk Headline" pitchFamily="2" charset="0"/>
              </a:rPr>
              <a:t>Na oplátku si kolegovia vyskúšali aké je to byť iný – plnili úlohy po budove „v inej koži“ </a:t>
            </a:r>
            <a:br>
              <a:rPr lang="sk-SK" b="1" dirty="0" smtClean="0">
                <a:latin typeface="TeleGrotesk Headline" pitchFamily="2" charset="0"/>
              </a:rPr>
            </a:br>
            <a:r>
              <a:rPr lang="sk-SK" b="1" dirty="0" smtClean="0">
                <a:latin typeface="TeleGrotesk Headline" pitchFamily="2" charset="0"/>
              </a:rPr>
              <a:t>tzn. sediac na vozíku, so zaviazanými očami a podobne. </a:t>
            </a:r>
          </a:p>
        </p:txBody>
      </p:sp>
    </p:spTree>
    <p:extLst>
      <p:ext uri="{BB962C8B-B14F-4D97-AF65-F5344CB8AC3E}">
        <p14:creationId xmlns:p14="http://schemas.microsoft.com/office/powerpoint/2010/main" val="26554949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1"/>
          <p:cNvSpPr txBox="1">
            <a:spLocks/>
          </p:cNvSpPr>
          <p:nvPr/>
        </p:nvSpPr>
        <p:spPr bwMode="gray">
          <a:xfrm>
            <a:off x="406400" y="333375"/>
            <a:ext cx="113284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SzTx/>
              <a:buFontTx/>
            </a:pPr>
            <a:r>
              <a:rPr lang="sk-SK" dirty="0" smtClean="0"/>
              <a:t>AKCIA „V INEJ KOŽI“</a:t>
            </a:r>
            <a:br>
              <a:rPr lang="sk-SK" dirty="0" smtClean="0"/>
            </a:br>
            <a:r>
              <a:rPr lang="sk-SK" dirty="0" smtClean="0"/>
              <a:t>               Príbehmi k poznaniu – zažime to spolu</a:t>
            </a:r>
            <a:endParaRPr lang="sk-SK" dirty="0"/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900" y="1295400"/>
            <a:ext cx="4057650" cy="2705100"/>
          </a:xfrm>
          <a:prstGeom prst="rect">
            <a:avLst/>
          </a:prstGeom>
        </p:spPr>
      </p:pic>
      <p:pic>
        <p:nvPicPr>
          <p:cNvPr id="5" name="Obrázo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350" y="1295400"/>
            <a:ext cx="4210050" cy="2806700"/>
          </a:xfrm>
          <a:prstGeom prst="rect">
            <a:avLst/>
          </a:prstGeom>
        </p:spPr>
      </p:pic>
      <p:pic>
        <p:nvPicPr>
          <p:cNvPr id="12" name="Obrázok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350" y="4000500"/>
            <a:ext cx="4438650" cy="2959100"/>
          </a:xfrm>
          <a:prstGeom prst="rect">
            <a:avLst/>
          </a:prstGeom>
        </p:spPr>
      </p:pic>
      <p:pic>
        <p:nvPicPr>
          <p:cNvPr id="13" name="Obrázok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150" y="3867150"/>
            <a:ext cx="4686300" cy="3124200"/>
          </a:xfrm>
          <a:prstGeom prst="rect">
            <a:avLst/>
          </a:prstGeom>
        </p:spPr>
      </p:pic>
      <p:pic>
        <p:nvPicPr>
          <p:cNvPr id="14" name="Obrázok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1590675"/>
            <a:ext cx="2933700" cy="440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84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44501" y="366868"/>
            <a:ext cx="11328400" cy="415498"/>
          </a:xfrm>
        </p:spPr>
        <p:txBody>
          <a:bodyPr/>
          <a:lstStyle/>
          <a:p>
            <a:r>
              <a:rPr lang="sk-SK" dirty="0" err="1" smtClean="0"/>
              <a:t>ReaKcie</a:t>
            </a:r>
            <a:r>
              <a:rPr lang="sk-SK" dirty="0" smtClean="0"/>
              <a:t> na sociálnej sieti WORKPLACE</a:t>
            </a:r>
            <a:endParaRPr lang="sk-SK" dirty="0"/>
          </a:p>
        </p:txBody>
      </p:sp>
      <p:pic>
        <p:nvPicPr>
          <p:cNvPr id="8" name="Zástupný symbol obsahu 7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6688" y="574617"/>
            <a:ext cx="3265656" cy="5309027"/>
          </a:xfrm>
        </p:spPr>
      </p:pic>
      <p:pic>
        <p:nvPicPr>
          <p:cNvPr id="3" name="Obrázo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432" y="930804"/>
            <a:ext cx="5027057" cy="2968740"/>
          </a:xfrm>
          <a:prstGeom prst="rect">
            <a:avLst/>
          </a:prstGeom>
        </p:spPr>
      </p:pic>
      <p:pic>
        <p:nvPicPr>
          <p:cNvPr id="9" name="Zástupný symbol obsahu 8"/>
          <p:cNvPicPr>
            <a:picLocks noGrp="1" noChangeAspect="1"/>
          </p:cNvPicPr>
          <p:nvPr>
            <p:ph sz="half" idx="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119" y="1010619"/>
            <a:ext cx="2667219" cy="4184818"/>
          </a:xfr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921" y="4127797"/>
            <a:ext cx="3700080" cy="178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14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smtClean="0"/>
              <a:t>AKCIE PRE VEREJNOSŤ</a:t>
            </a:r>
            <a:endParaRPr lang="sk-SK" dirty="0"/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143361" y="2068513"/>
            <a:ext cx="3041652" cy="4284662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latin typeface="TeleGrotesk Headline" pitchFamily="2" charset="0"/>
              </a:rPr>
              <a:t>Online hra, kde zažijete </a:t>
            </a:r>
            <a:r>
              <a:rPr lang="sk-SK" b="1" dirty="0" err="1" smtClean="0">
                <a:latin typeface="TeleGrotesk Headline" pitchFamily="2" charset="0"/>
              </a:rPr>
              <a:t>akÉ</a:t>
            </a:r>
            <a:r>
              <a:rPr lang="sk-SK" b="1" dirty="0" smtClean="0">
                <a:latin typeface="TeleGrotesk Headline" pitchFamily="2" charset="0"/>
              </a:rPr>
              <a:t> je to byť bezdomovcom, dievčinou bez prstov, či </a:t>
            </a:r>
            <a:r>
              <a:rPr lang="sk-SK" b="1" dirty="0" err="1" smtClean="0">
                <a:latin typeface="TeleGrotesk Headline" pitchFamily="2" charset="0"/>
              </a:rPr>
              <a:t>rómom</a:t>
            </a:r>
            <a:r>
              <a:rPr lang="sk-SK" b="1" dirty="0" smtClean="0">
                <a:latin typeface="TeleGrotesk Headline" pitchFamily="2" charset="0"/>
              </a:rPr>
              <a:t>, ktorý nedostane zamestnanie...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b="1" dirty="0">
              <a:latin typeface="TeleGrotesk Headline" pitchFamily="2" charset="0"/>
            </a:endParaRP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solidFill>
                  <a:schemeClr val="tx2"/>
                </a:solidFill>
                <a:latin typeface="TeleGrotesk Headline" pitchFamily="2" charset="0"/>
              </a:rPr>
              <a:t>Viac na 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solidFill>
                  <a:schemeClr val="tx2"/>
                </a:solidFill>
                <a:latin typeface="TeleGrotesk Headline" pitchFamily="2" charset="0"/>
              </a:rPr>
              <a:t>NEZIVIMPREDSUDKY.SK</a:t>
            </a:r>
            <a:endParaRPr lang="sk-SK" dirty="0" smtClean="0">
              <a:solidFill>
                <a:schemeClr val="tx2"/>
              </a:solidFill>
              <a:latin typeface="TeleGrotesk Headline" pitchFamily="2" charset="0"/>
            </a:endParaRPr>
          </a:p>
          <a:p>
            <a:pPr algn="ctr"/>
            <a:endParaRPr lang="sk-SK" dirty="0">
              <a:latin typeface="TeleGrotesk Headline" pitchFamily="2" charset="0"/>
            </a:endParaRP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19058-10AE-44B1-BB32-0970126EA012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sk-SK" noProof="0" smtClean="0"/>
              <a:pPr/>
              <a:t>13</a:t>
            </a:fld>
            <a:endParaRPr lang="sk-SK" noProof="0"/>
          </a:p>
        </p:txBody>
      </p:sp>
      <p:pic>
        <p:nvPicPr>
          <p:cNvPr id="4" name="Obrázo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3138" y="1352550"/>
            <a:ext cx="8768862" cy="474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895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smtClean="0"/>
              <a:t>AKCIE PRE VEREJNOSŤ</a:t>
            </a:r>
            <a:endParaRPr lang="sk-SK" dirty="0"/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406400" y="1296988"/>
            <a:ext cx="3041652" cy="4284662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>
                <a:latin typeface="TeleGrotesk Headline" pitchFamily="2" charset="0"/>
              </a:rPr>
              <a:t>Podporujeme prostredníctvom NADAČNÉHO FONDU TELEKOM </a:t>
            </a:r>
            <a:br>
              <a:rPr lang="sk-SK" b="1" dirty="0">
                <a:latin typeface="TeleGrotesk Headline" pitchFamily="2" charset="0"/>
              </a:rPr>
            </a:br>
            <a:r>
              <a:rPr lang="sk-SK" b="1" dirty="0">
                <a:latin typeface="TeleGrotesk Headline" pitchFamily="2" charset="0"/>
              </a:rPr>
              <a:t>aj neformálne zábavné akcie pre deti i dospelých napr.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>
                <a:solidFill>
                  <a:schemeClr val="tx2"/>
                </a:solidFill>
                <a:latin typeface="TeleGrotesk Headline" pitchFamily="2" charset="0"/>
              </a:rPr>
              <a:t>LABYRINT ZÁŽITKOV </a:t>
            </a:r>
            <a:r>
              <a:rPr lang="sk-SK" b="1" dirty="0" smtClean="0">
                <a:solidFill>
                  <a:schemeClr val="tx2"/>
                </a:solidFill>
                <a:latin typeface="TeleGrotesk Headline" pitchFamily="2" charset="0"/>
              </a:rPr>
              <a:t>na </a:t>
            </a:r>
            <a:r>
              <a:rPr lang="sk-SK" b="1" dirty="0" err="1" smtClean="0">
                <a:solidFill>
                  <a:schemeClr val="tx2"/>
                </a:solidFill>
                <a:latin typeface="TeleGrotesk Headline" pitchFamily="2" charset="0"/>
              </a:rPr>
              <a:t>magio</a:t>
            </a:r>
            <a:r>
              <a:rPr lang="sk-SK" b="1" dirty="0" smtClean="0">
                <a:solidFill>
                  <a:schemeClr val="tx2"/>
                </a:solidFill>
                <a:latin typeface="TeleGrotesk Headline" pitchFamily="2" charset="0"/>
              </a:rPr>
              <a:t> pláži</a:t>
            </a:r>
            <a:endParaRPr lang="sk-SK" b="1" dirty="0">
              <a:solidFill>
                <a:schemeClr val="tx2"/>
              </a:solidFill>
              <a:latin typeface="TeleGrotesk Headline" pitchFamily="2" charset="0"/>
            </a:endParaRPr>
          </a:p>
          <a:p>
            <a:endParaRPr lang="sk-SK" dirty="0" smtClean="0"/>
          </a:p>
          <a:p>
            <a:pPr algn="ctr"/>
            <a:r>
              <a:rPr lang="sk-SK" dirty="0" smtClean="0">
                <a:latin typeface="TeleGrotesk Headline" pitchFamily="2" charset="0"/>
              </a:rPr>
              <a:t>Sprostredkovanie zážitkov, príbehov, osobný kontakt s ľuďmi, ktorí sú iní, je jednou z foriem ako u detí budovať rozvoj kritického myslenia a objavovať svet v spektre jeho rôznorodosti a rôznofarebnosti.</a:t>
            </a:r>
          </a:p>
          <a:p>
            <a:pPr algn="ctr"/>
            <a:endParaRPr lang="sk-SK" dirty="0">
              <a:latin typeface="TeleGrotesk Headline" pitchFamily="2" charset="0"/>
            </a:endParaRP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19058-10AE-44B1-BB32-0970126EA012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sk-SK" noProof="0" smtClean="0"/>
              <a:pPr/>
              <a:t>14</a:t>
            </a:fld>
            <a:endParaRPr lang="sk-SK" noProof="0"/>
          </a:p>
        </p:txBody>
      </p:sp>
      <p:pic>
        <p:nvPicPr>
          <p:cNvPr id="9" name="Obrázok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938" y="1091707"/>
            <a:ext cx="8256201" cy="4914900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41061129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688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ová bublina 2"/>
          <p:cNvSpPr/>
          <p:nvPr/>
        </p:nvSpPr>
        <p:spPr>
          <a:xfrm>
            <a:off x="3289301" y="2049236"/>
            <a:ext cx="4825999" cy="2569028"/>
          </a:xfrm>
          <a:prstGeom prst="wedgeRectCallou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4400" b="1" dirty="0" smtClean="0">
                <a:solidFill>
                  <a:schemeClr val="bg1"/>
                </a:solidFill>
              </a:rPr>
              <a:t>2019</a:t>
            </a:r>
            <a:endParaRPr lang="sk-SK" sz="4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767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6861C-D025-4A47-9225-CD1EAD947A2C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sk-SK" noProof="0" smtClean="0"/>
              <a:pPr/>
              <a:t>16</a:t>
            </a:fld>
            <a:endParaRPr lang="sk-SK" noProof="0"/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96465"/>
            <a:ext cx="9804400" cy="5514975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9250" y="2949178"/>
            <a:ext cx="6762750" cy="3804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572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6861C-D025-4A47-9225-CD1EAD947A2C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sk-SK" noProof="0" smtClean="0"/>
              <a:pPr/>
              <a:t>17</a:t>
            </a:fld>
            <a:endParaRPr lang="sk-SK" noProof="0"/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3501" y="1371600"/>
            <a:ext cx="9753600" cy="5486400"/>
          </a:xfrm>
          <a:prstGeom prst="rect">
            <a:avLst/>
          </a:prstGeom>
        </p:spPr>
      </p:pic>
      <p:sp>
        <p:nvSpPr>
          <p:cNvPr id="7" name="Obdĺžnik 6"/>
          <p:cNvSpPr/>
          <p:nvPr/>
        </p:nvSpPr>
        <p:spPr>
          <a:xfrm>
            <a:off x="981075" y="456426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k-SK" dirty="0">
                <a:solidFill>
                  <a:schemeClr val="tx2"/>
                </a:solidFill>
              </a:rPr>
              <a:t>ČASOPIS</a:t>
            </a:r>
            <a:r>
              <a:rPr lang="en-US" dirty="0">
                <a:solidFill>
                  <a:schemeClr val="tx2"/>
                </a:solidFill>
              </a:rPr>
              <a:t> #</a:t>
            </a:r>
            <a:r>
              <a:rPr lang="en-US" dirty="0" err="1">
                <a:solidFill>
                  <a:schemeClr val="tx2"/>
                </a:solidFill>
              </a:rPr>
              <a:t>nezivimpredsudky</a:t>
            </a:r>
            <a:r>
              <a:rPr lang="sk-SK" dirty="0">
                <a:solidFill>
                  <a:schemeClr val="tx2"/>
                </a:solidFill>
              </a:rPr>
              <a:t/>
            </a:r>
            <a:br>
              <a:rPr lang="sk-SK" dirty="0">
                <a:solidFill>
                  <a:schemeClr val="tx2"/>
                </a:solidFill>
              </a:rPr>
            </a:br>
            <a:r>
              <a:rPr lang="sk-SK" dirty="0">
                <a:solidFill>
                  <a:schemeClr val="tx2"/>
                </a:solidFill>
              </a:rPr>
              <a:t>                        Slová a Obrazy vytvárajú prostredie</a:t>
            </a:r>
          </a:p>
        </p:txBody>
      </p:sp>
    </p:spTree>
    <p:extLst>
      <p:ext uri="{BB962C8B-B14F-4D97-AF65-F5344CB8AC3E}">
        <p14:creationId xmlns:p14="http://schemas.microsoft.com/office/powerpoint/2010/main" val="11863812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150" y="3976988"/>
            <a:ext cx="5048250" cy="2839641"/>
          </a:xfrm>
          <a:prstGeom prst="rect">
            <a:avLst/>
          </a:prstGeom>
        </p:spPr>
      </p:pic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6861C-D025-4A47-9225-CD1EAD947A2C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3C9E69-E43C-4763-8857-C1F967C53060}" type="slidenum">
              <a:rPr lang="sk-SK" noProof="0" smtClean="0"/>
              <a:pPr/>
              <a:t>18</a:t>
            </a:fld>
            <a:endParaRPr lang="sk-SK" noProof="0"/>
          </a:p>
        </p:txBody>
      </p:sp>
      <p:pic>
        <p:nvPicPr>
          <p:cNvPr id="332802" name="Picture 2" descr="Image may contain: tex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186" y="1422798"/>
            <a:ext cx="4127897" cy="550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804" name="Picture 4" descr="Image may contain: one or more people and people sitt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9069" y="4451748"/>
            <a:ext cx="3092450" cy="2319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806" name="Picture 6" descr="Image may contain: 1 person, standi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865" y="1889523"/>
            <a:ext cx="3416300" cy="256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2808" name="Picture 8" descr="No photo description available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064" y="1876425"/>
            <a:ext cx="1931492" cy="2575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Obdĺžnik 7"/>
          <p:cNvSpPr/>
          <p:nvPr/>
        </p:nvSpPr>
        <p:spPr>
          <a:xfrm>
            <a:off x="542924" y="461798"/>
            <a:ext cx="972502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dirty="0" err="1">
                <a:solidFill>
                  <a:schemeClr val="tx2"/>
                </a:solidFill>
              </a:rPr>
              <a:t>Eventy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sk-SK" dirty="0">
                <a:solidFill>
                  <a:schemeClr val="tx2"/>
                </a:solidFill>
              </a:rPr>
              <a:t> Bratislava, Košice, </a:t>
            </a:r>
            <a:r>
              <a:rPr lang="sk-SK" dirty="0" smtClean="0">
                <a:solidFill>
                  <a:schemeClr val="tx2"/>
                </a:solidFill>
              </a:rPr>
              <a:t>ŽILINA</a:t>
            </a:r>
            <a:r>
              <a:rPr lang="en-US" dirty="0">
                <a:solidFill>
                  <a:schemeClr val="tx2"/>
                </a:solidFill>
              </a:rPr>
              <a:t> #</a:t>
            </a:r>
            <a:r>
              <a:rPr lang="en-US" dirty="0" err="1">
                <a:solidFill>
                  <a:schemeClr val="tx2"/>
                </a:solidFill>
              </a:rPr>
              <a:t>nezivimpredsudky</a:t>
            </a:r>
            <a:endParaRPr lang="sk-SK" dirty="0">
              <a:solidFill>
                <a:schemeClr val="tx2"/>
              </a:solidFill>
            </a:endParaRPr>
          </a:p>
          <a:p>
            <a:r>
              <a:rPr lang="sk-SK" dirty="0">
                <a:solidFill>
                  <a:schemeClr val="tx2"/>
                </a:solidFill>
              </a:rPr>
              <a:t>                        Slová </a:t>
            </a:r>
            <a:r>
              <a:rPr lang="sk-SK" dirty="0">
                <a:solidFill>
                  <a:schemeClr val="tx2"/>
                </a:solidFill>
              </a:rPr>
              <a:t>a Obrazy vytvárajú prostredie</a:t>
            </a:r>
          </a:p>
        </p:txBody>
      </p:sp>
    </p:spTree>
    <p:extLst>
      <p:ext uri="{BB962C8B-B14F-4D97-AF65-F5344CB8AC3E}">
        <p14:creationId xmlns:p14="http://schemas.microsoft.com/office/powerpoint/2010/main" val="25388098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664797"/>
          </a:xfrm>
        </p:spPr>
        <p:txBody>
          <a:bodyPr/>
          <a:lstStyle/>
          <a:p>
            <a:r>
              <a:rPr lang="sk-SK" sz="2400" dirty="0" smtClean="0"/>
              <a:t>Spätná väzba</a:t>
            </a:r>
            <a:r>
              <a:rPr lang="en-US" sz="2400" dirty="0"/>
              <a:t> #</a:t>
            </a:r>
            <a:r>
              <a:rPr lang="en-US" sz="2400" dirty="0" err="1" smtClean="0"/>
              <a:t>nezivimpredsudky</a:t>
            </a:r>
            <a:r>
              <a:rPr lang="sk-SK" sz="2400" dirty="0" smtClean="0"/>
              <a:t/>
            </a:r>
            <a:br>
              <a:rPr lang="sk-SK" sz="2400" dirty="0" smtClean="0"/>
            </a:br>
            <a:r>
              <a:rPr lang="sk-SK" sz="2400" dirty="0" smtClean="0"/>
              <a:t>Obohatilo MA o:</a:t>
            </a:r>
            <a:endParaRPr lang="sk-SK" sz="24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898526" y="1102331"/>
            <a:ext cx="11328400" cy="4283075"/>
          </a:xfrm>
        </p:spPr>
        <p:txBody>
          <a:bodyPr/>
          <a:lstStyle/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pokora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err="1"/>
              <a:t>lutost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tak ako ja som bezdomovcom tak nejako vnímala ako bolo v ukážke len mi bolo ľúto ľudí ako sa k ním bezohľadne </a:t>
            </a:r>
            <a:r>
              <a:rPr lang="sk-SK" sz="1200" dirty="0" err="1"/>
              <a:t>správaju</a:t>
            </a:r>
            <a:r>
              <a:rPr lang="sk-SK" sz="1200" dirty="0"/>
              <a:t> :(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smutná realita dnešnej doby...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pocit uvedomenia samej seba ako sa k takýmto ľuďom správam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err="1"/>
              <a:t>kazdi</a:t>
            </a:r>
            <a:r>
              <a:rPr lang="sk-SK" sz="1200" dirty="0"/>
              <a:t> </a:t>
            </a:r>
            <a:r>
              <a:rPr lang="sk-SK" sz="1200" dirty="0" err="1"/>
              <a:t>den</a:t>
            </a:r>
            <a:r>
              <a:rPr lang="sk-SK" sz="1200" dirty="0"/>
              <a:t> musia </a:t>
            </a:r>
            <a:r>
              <a:rPr lang="sk-SK" sz="1200" dirty="0" err="1"/>
              <a:t>bojovat</a:t>
            </a:r>
            <a:r>
              <a:rPr lang="sk-SK" sz="1200" dirty="0"/>
              <a:t> a </a:t>
            </a:r>
            <a:r>
              <a:rPr lang="sk-SK" sz="1200" dirty="0" err="1"/>
              <a:t>nemoze</a:t>
            </a:r>
            <a:r>
              <a:rPr lang="sk-SK" sz="1200" dirty="0"/>
              <a:t> sa </a:t>
            </a:r>
            <a:r>
              <a:rPr lang="sk-SK" sz="1200" dirty="0" err="1"/>
              <a:t>spustit</a:t>
            </a:r>
            <a:r>
              <a:rPr lang="sk-SK" sz="1200" dirty="0"/>
              <a:t> inak by nikdy </a:t>
            </a:r>
            <a:r>
              <a:rPr lang="sk-SK" sz="1200" dirty="0" err="1"/>
              <a:t>nic</a:t>
            </a:r>
            <a:r>
              <a:rPr lang="sk-SK" sz="1200" dirty="0"/>
              <a:t> nedosiahli a </a:t>
            </a:r>
            <a:r>
              <a:rPr lang="sk-SK" sz="1200" dirty="0" err="1"/>
              <a:t>myslim</a:t>
            </a:r>
            <a:r>
              <a:rPr lang="sk-SK" sz="1200" dirty="0"/>
              <a:t> </a:t>
            </a:r>
            <a:r>
              <a:rPr lang="sk-SK" sz="1200" dirty="0" err="1"/>
              <a:t>ze</a:t>
            </a:r>
            <a:r>
              <a:rPr lang="sk-SK" sz="1200" dirty="0"/>
              <a:t> je to </a:t>
            </a:r>
            <a:r>
              <a:rPr lang="sk-SK" sz="1200" dirty="0" err="1"/>
              <a:t>velmi</a:t>
            </a:r>
            <a:r>
              <a:rPr lang="sk-SK" sz="1200" dirty="0"/>
              <a:t> </a:t>
            </a:r>
            <a:r>
              <a:rPr lang="sk-SK" sz="1200" dirty="0" err="1"/>
              <a:t>tazke</a:t>
            </a:r>
            <a:r>
              <a:rPr lang="sk-SK" sz="1200" dirty="0"/>
              <a:t> </a:t>
            </a:r>
            <a:r>
              <a:rPr lang="sk-SK" sz="1200" dirty="0" err="1"/>
              <a:t>kazdy</a:t>
            </a:r>
            <a:r>
              <a:rPr lang="sk-SK" sz="1200" dirty="0"/>
              <a:t> </a:t>
            </a:r>
            <a:r>
              <a:rPr lang="sk-SK" sz="1200" dirty="0" err="1"/>
              <a:t>den</a:t>
            </a:r>
            <a:r>
              <a:rPr lang="sk-SK" sz="1200" dirty="0"/>
              <a:t> </a:t>
            </a:r>
            <a:r>
              <a:rPr lang="sk-SK" sz="1200" dirty="0" err="1"/>
              <a:t>vstat</a:t>
            </a:r>
            <a:r>
              <a:rPr lang="sk-SK" sz="1200" dirty="0"/>
              <a:t> s </a:t>
            </a:r>
            <a:r>
              <a:rPr lang="sk-SK" sz="1200" dirty="0" err="1"/>
              <a:t>tym</a:t>
            </a:r>
            <a:r>
              <a:rPr lang="sk-SK" sz="1200" dirty="0"/>
              <a:t> </a:t>
            </a:r>
            <a:r>
              <a:rPr lang="sk-SK" sz="1200" dirty="0" err="1"/>
              <a:t>ze</a:t>
            </a:r>
            <a:r>
              <a:rPr lang="sk-SK" sz="1200" dirty="0"/>
              <a:t> </a:t>
            </a:r>
            <a:r>
              <a:rPr lang="sk-SK" sz="1200" dirty="0" err="1"/>
              <a:t>musim</a:t>
            </a:r>
            <a:r>
              <a:rPr lang="sk-SK" sz="1200" dirty="0"/>
              <a:t> </a:t>
            </a:r>
            <a:r>
              <a:rPr lang="sk-SK" sz="1200" dirty="0" err="1"/>
              <a:t>bojovat</a:t>
            </a:r>
            <a:r>
              <a:rPr lang="sk-SK" sz="1200" dirty="0"/>
              <a:t> aby som mal </a:t>
            </a:r>
            <a:r>
              <a:rPr lang="sk-SK" sz="1200" dirty="0" err="1"/>
              <a:t>zakladne</a:t>
            </a:r>
            <a:r>
              <a:rPr lang="sk-SK" sz="1200" dirty="0"/>
              <a:t> potreby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uvedomenie reality, </a:t>
            </a:r>
            <a:r>
              <a:rPr lang="sk-SK" sz="1200" dirty="0" err="1"/>
              <a:t>narocnost</a:t>
            </a:r>
            <a:r>
              <a:rPr lang="sk-SK" sz="1200" dirty="0"/>
              <a:t> </a:t>
            </a:r>
            <a:r>
              <a:rPr lang="sk-SK" sz="1200" dirty="0" err="1"/>
              <a:t>prezitia</a:t>
            </a:r>
            <a:r>
              <a:rPr lang="sk-SK" sz="1200" dirty="0"/>
              <a:t>, </a:t>
            </a:r>
            <a:r>
              <a:rPr lang="sk-SK" sz="1200" dirty="0" err="1"/>
              <a:t>ine</a:t>
            </a:r>
            <a:r>
              <a:rPr lang="sk-SK" sz="1200" dirty="0"/>
              <a:t> </a:t>
            </a:r>
            <a:r>
              <a:rPr lang="sk-SK" sz="1200" dirty="0" err="1"/>
              <a:t>vnimanie</a:t>
            </a:r>
            <a:r>
              <a:rPr lang="sk-SK" sz="1200" dirty="0"/>
              <a:t> </a:t>
            </a:r>
            <a:r>
              <a:rPr lang="sk-SK" sz="1200" dirty="0" err="1"/>
              <a:t>tychto</a:t>
            </a:r>
            <a:r>
              <a:rPr lang="sk-SK" sz="1200" dirty="0"/>
              <a:t> </a:t>
            </a:r>
            <a:r>
              <a:rPr lang="sk-SK" sz="1200" dirty="0" err="1"/>
              <a:t>ludi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err="1" smtClean="0"/>
              <a:t>jednoznacne</a:t>
            </a:r>
            <a:r>
              <a:rPr lang="sk-SK" sz="1200" dirty="0" smtClean="0"/>
              <a:t> </a:t>
            </a:r>
            <a:r>
              <a:rPr lang="sk-SK" sz="1200" dirty="0"/>
              <a:t>o </a:t>
            </a:r>
            <a:r>
              <a:rPr lang="sk-SK" sz="1200" dirty="0" err="1"/>
              <a:t>skusenosti</a:t>
            </a:r>
            <a:r>
              <a:rPr lang="sk-SK" sz="1200" dirty="0"/>
              <a:t> </a:t>
            </a:r>
            <a:r>
              <a:rPr lang="sk-SK" sz="1200" dirty="0" err="1"/>
              <a:t>co</a:t>
            </a:r>
            <a:r>
              <a:rPr lang="sk-SK" sz="1200" dirty="0"/>
              <a:t> </a:t>
            </a:r>
            <a:r>
              <a:rPr lang="sk-SK" sz="1200" dirty="0" err="1"/>
              <a:t>zaziva</a:t>
            </a:r>
            <a:r>
              <a:rPr lang="sk-SK" sz="1200" dirty="0"/>
              <a:t> nevidiaci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smtClean="0"/>
              <a:t>emócie</a:t>
            </a:r>
            <a:r>
              <a:rPr lang="sk-SK" sz="1200" dirty="0"/>
              <a:t>, sebauvedomenie, empatiu, širší pohľad na ľudí s </a:t>
            </a:r>
            <a:r>
              <a:rPr lang="sk-SK" sz="1200" dirty="0" err="1"/>
              <a:t>handicapom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Nové informácie, iný pohľad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err="1"/>
              <a:t>skusenosti</a:t>
            </a:r>
            <a:r>
              <a:rPr lang="sk-SK" sz="1200" dirty="0"/>
              <a:t> s </a:t>
            </a:r>
            <a:r>
              <a:rPr lang="sk-SK" sz="1200" dirty="0" err="1"/>
              <a:t>bulimiou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err="1"/>
              <a:t>emocia,to</a:t>
            </a:r>
            <a:r>
              <a:rPr lang="sk-SK" sz="1200" dirty="0"/>
              <a:t> </a:t>
            </a:r>
            <a:r>
              <a:rPr lang="sk-SK" sz="1200" dirty="0" err="1"/>
              <a:t>ze</a:t>
            </a:r>
            <a:r>
              <a:rPr lang="sk-SK" sz="1200" dirty="0"/>
              <a:t> </a:t>
            </a:r>
            <a:r>
              <a:rPr lang="sk-SK" sz="1200" dirty="0" err="1"/>
              <a:t>mozem</a:t>
            </a:r>
            <a:r>
              <a:rPr lang="sk-SK" sz="1200" dirty="0"/>
              <a:t> byt </a:t>
            </a:r>
            <a:r>
              <a:rPr lang="sk-SK" sz="1200" dirty="0" err="1"/>
              <a:t>vdacny</a:t>
            </a:r>
            <a:r>
              <a:rPr lang="sk-SK" sz="1200" dirty="0"/>
              <a:t> za to </a:t>
            </a:r>
            <a:r>
              <a:rPr lang="sk-SK" sz="1200" dirty="0" err="1"/>
              <a:t>co</a:t>
            </a:r>
            <a:r>
              <a:rPr lang="sk-SK" sz="1200" dirty="0"/>
              <a:t> mam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Obohatiť </a:t>
            </a:r>
            <a:r>
              <a:rPr lang="sk-SK" sz="1200" dirty="0" err="1"/>
              <a:t>hmmm</a:t>
            </a:r>
            <a:r>
              <a:rPr lang="sk-SK" sz="1200" dirty="0"/>
              <a:t> ja sa správam k ľudom na linke rovnako čí </a:t>
            </a:r>
            <a:r>
              <a:rPr lang="sk-SK" sz="1200" dirty="0" err="1"/>
              <a:t>uz</a:t>
            </a:r>
            <a:r>
              <a:rPr lang="sk-SK" sz="1200" dirty="0"/>
              <a:t> je taký alebo taký - ja rozdiel nerobím takže ja sa správam na linke tak ako by som chcela aby sa aj </a:t>
            </a:r>
            <a:r>
              <a:rPr lang="sk-SK" sz="1200" dirty="0" err="1"/>
              <a:t>kumne</a:t>
            </a:r>
            <a:r>
              <a:rPr lang="sk-SK" sz="1200" dirty="0"/>
              <a:t> tak správali .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lepší nadhľad a pohľad na ľudí, väčšia empatia, otvorenejšia myseľ a zmýšľanie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ako </a:t>
            </a:r>
            <a:r>
              <a:rPr lang="sk-SK" sz="1200" dirty="0" err="1"/>
              <a:t>vnimanie</a:t>
            </a:r>
            <a:r>
              <a:rPr lang="sk-SK" sz="1200" dirty="0"/>
              <a:t> seba </a:t>
            </a:r>
            <a:r>
              <a:rPr lang="sk-SK" sz="1200" dirty="0" err="1"/>
              <a:t>sameho</a:t>
            </a:r>
            <a:r>
              <a:rPr lang="sk-SK" sz="1200" dirty="0"/>
              <a:t> a stav mysle </a:t>
            </a:r>
            <a:r>
              <a:rPr lang="sk-SK" sz="1200" dirty="0" err="1"/>
              <a:t>moze</a:t>
            </a:r>
            <a:r>
              <a:rPr lang="sk-SK" sz="1200" dirty="0"/>
              <a:t> </a:t>
            </a:r>
            <a:r>
              <a:rPr lang="sk-SK" sz="1200" dirty="0" err="1"/>
              <a:t>zmenit</a:t>
            </a:r>
            <a:r>
              <a:rPr lang="sk-SK" sz="1200" dirty="0"/>
              <a:t> </a:t>
            </a:r>
            <a:r>
              <a:rPr lang="sk-SK" sz="1200" dirty="0" err="1"/>
              <a:t>zivot</a:t>
            </a:r>
            <a:r>
              <a:rPr lang="sk-SK" sz="1200" dirty="0"/>
              <a:t> </a:t>
            </a:r>
            <a:r>
              <a:rPr lang="sk-SK" sz="1200" dirty="0" err="1"/>
              <a:t>cloveka</a:t>
            </a:r>
            <a:r>
              <a:rPr lang="sk-SK" sz="1200" dirty="0"/>
              <a:t>. </a:t>
            </a:r>
            <a:r>
              <a:rPr lang="sk-SK" sz="1200" dirty="0" err="1"/>
              <a:t>Kazdy</a:t>
            </a:r>
            <a:r>
              <a:rPr lang="sk-SK" sz="1200" dirty="0"/>
              <a:t> </a:t>
            </a:r>
            <a:r>
              <a:rPr lang="sk-SK" sz="1200" dirty="0" err="1"/>
              <a:t>clovek</a:t>
            </a:r>
            <a:r>
              <a:rPr lang="sk-SK" sz="1200" dirty="0"/>
              <a:t> </a:t>
            </a:r>
            <a:r>
              <a:rPr lang="sk-SK" sz="1200" dirty="0" err="1"/>
              <a:t>podla</a:t>
            </a:r>
            <a:r>
              <a:rPr lang="sk-SK" sz="1200" dirty="0"/>
              <a:t> svojho nastavenia mysle </a:t>
            </a:r>
            <a:r>
              <a:rPr lang="sk-SK" sz="1200" dirty="0" err="1"/>
              <a:t>zije</a:t>
            </a:r>
            <a:r>
              <a:rPr lang="sk-SK" sz="1200" dirty="0"/>
              <a:t> svoj </a:t>
            </a:r>
            <a:r>
              <a:rPr lang="sk-SK" sz="1200" dirty="0" err="1"/>
              <a:t>zivot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viem sa lepšie vcítiť do našich zákazníkov ale aj ľudí v mojom okolí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smtClean="0"/>
              <a:t>je </a:t>
            </a:r>
            <a:r>
              <a:rPr lang="sk-SK" sz="1200" dirty="0"/>
              <a:t>to </a:t>
            </a:r>
            <a:r>
              <a:rPr lang="sk-SK" sz="1200" dirty="0" err="1"/>
              <a:t>lepsie</a:t>
            </a:r>
            <a:r>
              <a:rPr lang="sk-SK" sz="1200" dirty="0"/>
              <a:t>, ako </a:t>
            </a:r>
            <a:r>
              <a:rPr lang="sk-SK" sz="1200" dirty="0" err="1"/>
              <a:t>ked</a:t>
            </a:r>
            <a:r>
              <a:rPr lang="sk-SK" sz="1200" dirty="0"/>
              <a:t> </a:t>
            </a:r>
            <a:r>
              <a:rPr lang="sk-SK" sz="1200" dirty="0" err="1"/>
              <a:t>su</a:t>
            </a:r>
            <a:r>
              <a:rPr lang="sk-SK" sz="1200" dirty="0"/>
              <a:t> </a:t>
            </a:r>
            <a:r>
              <a:rPr lang="sk-SK" sz="1200" dirty="0" err="1"/>
              <a:t>pribehy</a:t>
            </a:r>
            <a:r>
              <a:rPr lang="sk-SK" sz="1200" dirty="0"/>
              <a:t> len </a:t>
            </a:r>
            <a:r>
              <a:rPr lang="sk-SK" sz="1200" dirty="0" err="1"/>
              <a:t>spostredkovane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smtClean="0"/>
              <a:t>životný </a:t>
            </a:r>
            <a:r>
              <a:rPr lang="sk-SK" sz="1200" dirty="0"/>
              <a:t>nadhľad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obohatilo ma to o </a:t>
            </a:r>
            <a:r>
              <a:rPr lang="sk-SK" sz="1200" dirty="0" err="1"/>
              <a:t>vela</a:t>
            </a:r>
            <a:r>
              <a:rPr lang="sk-SK" sz="1200" dirty="0"/>
              <a:t>, </a:t>
            </a:r>
            <a:r>
              <a:rPr lang="sk-SK" sz="1200" dirty="0" err="1"/>
              <a:t>kedze</a:t>
            </a:r>
            <a:r>
              <a:rPr lang="sk-SK" sz="1200" dirty="0"/>
              <a:t> som </a:t>
            </a:r>
            <a:r>
              <a:rPr lang="sk-SK" sz="1200" dirty="0" err="1"/>
              <a:t>prisla</a:t>
            </a:r>
            <a:r>
              <a:rPr lang="sk-SK" sz="1200" dirty="0"/>
              <a:t> na to, </a:t>
            </a:r>
            <a:r>
              <a:rPr lang="sk-SK" sz="1200" dirty="0" err="1"/>
              <a:t>ze</a:t>
            </a:r>
            <a:r>
              <a:rPr lang="sk-SK" sz="1200" dirty="0"/>
              <a:t> ak s </a:t>
            </a:r>
            <a:r>
              <a:rPr lang="sk-SK" sz="1200" dirty="0" err="1"/>
              <a:t>niekym</a:t>
            </a:r>
            <a:r>
              <a:rPr lang="sk-SK" sz="1200" dirty="0"/>
              <a:t> telefonujeme, </a:t>
            </a:r>
            <a:r>
              <a:rPr lang="sk-SK" sz="1200" dirty="0" err="1"/>
              <a:t>nepozname</a:t>
            </a:r>
            <a:r>
              <a:rPr lang="sk-SK" sz="1200" dirty="0"/>
              <a:t> cely jeho </a:t>
            </a:r>
            <a:r>
              <a:rPr lang="sk-SK" sz="1200" dirty="0" err="1"/>
              <a:t>pribeh</a:t>
            </a:r>
            <a:r>
              <a:rPr lang="sk-SK" sz="1200" dirty="0"/>
              <a:t>, </a:t>
            </a:r>
            <a:r>
              <a:rPr lang="sk-SK" sz="1200" dirty="0" err="1"/>
              <a:t>cize</a:t>
            </a:r>
            <a:r>
              <a:rPr lang="sk-SK" sz="1200" dirty="0"/>
              <a:t> mali by sme sa </a:t>
            </a:r>
            <a:r>
              <a:rPr lang="sk-SK" sz="1200" dirty="0" err="1"/>
              <a:t>spravat</a:t>
            </a:r>
            <a:r>
              <a:rPr lang="sk-SK" sz="1200" dirty="0"/>
              <a:t> </a:t>
            </a:r>
            <a:r>
              <a:rPr lang="sk-SK" sz="1200" dirty="0" err="1"/>
              <a:t>uctivo</a:t>
            </a:r>
            <a:r>
              <a:rPr lang="sk-SK" sz="1200" dirty="0"/>
              <a:t> ku </a:t>
            </a:r>
            <a:r>
              <a:rPr lang="sk-SK" sz="1200" dirty="0" err="1"/>
              <a:t>kazdemu</a:t>
            </a:r>
            <a:endParaRPr lang="sk-SK" sz="1200" dirty="0"/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iný pohľad ale aj potvrdenie, že v každej spoločnosti sú všelijaký ľudia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o väčšiu tolerantnosť a ohľaduplnosť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/>
              <a:t>životné skúsenosti daných ľudí. </a:t>
            </a:r>
            <a:r>
              <a:rPr lang="sk-SK" sz="1200" dirty="0"/>
              <a:t>upravilo to môj pohľad na ich život - vyvolanie väčšej </a:t>
            </a:r>
            <a:r>
              <a:rPr lang="sk-SK" sz="1200" dirty="0" smtClean="0"/>
              <a:t>empatie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sk-SK" sz="1200" dirty="0" smtClean="0"/>
              <a:t>.........</a:t>
            </a:r>
            <a:endParaRPr lang="sk-SK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978557-742D-4FFB-A4DC-9DD5E3512A91}" type="datetime1">
              <a:rPr lang="sk-SK" noProof="0" smtClean="0"/>
              <a:t>7.1.2020</a:t>
            </a:fld>
            <a:endParaRPr lang="sk-SK" noProof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– confidential –                         Ľ. Jakubíková, P.Oláš/CEX &amp; CLAIMS overview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B5F043-C5C9-4543-B156-099DED57FF04}" type="slidenum">
              <a:rPr lang="sk-SK" noProof="0" smtClean="0"/>
              <a:pPr/>
              <a:t>19</a:t>
            </a:fld>
            <a:endParaRPr lang="sk-SK" noProof="0"/>
          </a:p>
        </p:txBody>
      </p:sp>
    </p:spTree>
    <p:extLst>
      <p:ext uri="{BB962C8B-B14F-4D97-AF65-F5344CB8AC3E}">
        <p14:creationId xmlns:p14="http://schemas.microsoft.com/office/powerpoint/2010/main" val="408419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83" name="Object 10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919062" y="1240478"/>
            <a:ext cx="8496300" cy="498598"/>
          </a:xfrm>
        </p:spPr>
        <p:txBody>
          <a:bodyPr/>
          <a:lstStyle/>
          <a:p>
            <a:pPr algn="ctr"/>
            <a:r>
              <a:rPr lang="sk-SK" sz="3600" b="1" dirty="0" smtClean="0">
                <a:latin typeface="Calibri" panose="020F0502020204030204" pitchFamily="34" charset="0"/>
              </a:rPr>
              <a:t>PREČO</a:t>
            </a:r>
            <a:endParaRPr lang="en-US" sz="3600" dirty="0" smtClean="0">
              <a:latin typeface="Calibri" panose="020F0502020204030204" pitchFamily="34" charset="0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863600" y="1593933"/>
            <a:ext cx="9798957" cy="3533548"/>
          </a:xfrm>
        </p:spPr>
        <p:txBody>
          <a:bodyPr/>
          <a:lstStyle/>
          <a:p>
            <a:pPr lvl="1"/>
            <a:endParaRPr lang="sk-SK" sz="2400" dirty="0"/>
          </a:p>
          <a:p>
            <a:pPr lvl="1"/>
            <a:endParaRPr lang="sk-SK" sz="2400" i="1" dirty="0">
              <a:latin typeface="Calibri" panose="020F0502020204030204" pitchFamily="34" charset="0"/>
            </a:endParaRPr>
          </a:p>
          <a:p>
            <a:pPr lvl="1"/>
            <a:r>
              <a:rPr lang="sk-SK" sz="2400" i="1" dirty="0" smtClean="0">
                <a:latin typeface="Calibri" panose="020F0502020204030204" pitchFamily="34" charset="0"/>
                <a:cs typeface="Aharoni" panose="02010803020104030203" pitchFamily="2" charset="-79"/>
              </a:rPr>
              <a:t>	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2" name="BlokTextu 1"/>
          <p:cNvSpPr txBox="1"/>
          <p:nvPr/>
        </p:nvSpPr>
        <p:spPr>
          <a:xfrm>
            <a:off x="2095500" y="2092531"/>
            <a:ext cx="8458200" cy="38087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b="1" dirty="0" smtClean="0">
                <a:latin typeface="+mn-lt"/>
              </a:rPr>
              <a:t>Sme zákaznícky orientovaná firma, ktorej alfou a omegou je zákazník.</a:t>
            </a:r>
            <a:br>
              <a:rPr lang="sk-SK" b="1" dirty="0" smtClean="0">
                <a:latin typeface="+mn-lt"/>
              </a:rPr>
            </a:br>
            <a:r>
              <a:rPr lang="sk-SK" b="1" dirty="0" smtClean="0">
                <a:latin typeface="+mn-lt"/>
              </a:rPr>
              <a:t> A naši kolegovia v predných líniách sa stretávajú s rôznymi zákazníkmi v rôznych situáciách...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dirty="0">
              <a:latin typeface="+mn-lt"/>
            </a:endParaRP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dirty="0" smtClean="0">
                <a:latin typeface="+mn-lt"/>
              </a:rPr>
              <a:t>Je po porážke alebo je opitá? </a:t>
            </a:r>
            <a:r>
              <a:rPr lang="sk-SK" dirty="0">
                <a:latin typeface="+mn-lt"/>
              </a:rPr>
              <a:t/>
            </a:r>
            <a:br>
              <a:rPr lang="sk-SK" dirty="0">
                <a:latin typeface="+mn-lt"/>
              </a:rPr>
            </a:br>
            <a:r>
              <a:rPr lang="sk-SK" i="1" dirty="0" smtClean="0">
                <a:latin typeface="+mn-lt"/>
              </a:rPr>
              <a:t>Prvá myšlienka pri telefonickom kontakte so zákazníčkou, ktorá veľmi problematicky artikuluje...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dirty="0" smtClean="0">
                <a:latin typeface="+mn-lt"/>
              </a:rPr>
              <a:t>Náš operátor na </a:t>
            </a:r>
            <a:r>
              <a:rPr lang="sk-SK" dirty="0" err="1" smtClean="0">
                <a:latin typeface="+mn-lt"/>
              </a:rPr>
              <a:t>callcentre</a:t>
            </a:r>
            <a:r>
              <a:rPr lang="sk-SK" dirty="0" smtClean="0">
                <a:latin typeface="+mn-lt"/>
              </a:rPr>
              <a:t> </a:t>
            </a:r>
            <a:r>
              <a:rPr lang="sk-SK" dirty="0" smtClean="0">
                <a:latin typeface="+mn-lt"/>
              </a:rPr>
              <a:t>hovor zvládol na výbornú. A pani mu ďakovala za trpezlivosť a vyriešenie jej požiadavky.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dirty="0"/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sz="2000" dirty="0" smtClean="0">
                <a:solidFill>
                  <a:srgbClr val="E20074"/>
                </a:solidFill>
              </a:rPr>
              <a:t>Predsudky, stereotypy môžu byť užitočné, </a:t>
            </a:r>
            <a:br>
              <a:rPr lang="sk-SK" sz="2000" dirty="0" smtClean="0">
                <a:solidFill>
                  <a:srgbClr val="E20074"/>
                </a:solidFill>
              </a:rPr>
            </a:br>
            <a:r>
              <a:rPr lang="sk-SK" sz="2000" dirty="0" smtClean="0">
                <a:solidFill>
                  <a:srgbClr val="E20074"/>
                </a:solidFill>
              </a:rPr>
              <a:t>avšak väčšinou zraňujú, ubližujú a vytvárajú napätie.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sz="2000" dirty="0">
              <a:solidFill>
                <a:srgbClr val="E20074"/>
              </a:solidFill>
            </a:endParaRP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sz="2000" i="1" dirty="0" smtClean="0">
                <a:solidFill>
                  <a:srgbClr val="E20074"/>
                </a:solidFill>
              </a:rPr>
              <a:t>Kampaňou a vzdelávaním podporujeme rešpekt a úctu bez ohľadu </a:t>
            </a:r>
          </a:p>
          <a:p>
            <a:pPr algn="ctr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sk-SK" sz="2000" i="1" dirty="0" smtClean="0">
                <a:solidFill>
                  <a:srgbClr val="E20074"/>
                </a:solidFill>
              </a:rPr>
              <a:t>na inakosť...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dirty="0" smtClean="0"/>
          </a:p>
        </p:txBody>
      </p:sp>
    </p:spTree>
    <p:extLst>
      <p:ext uri="{BB962C8B-B14F-4D97-AF65-F5344CB8AC3E}">
        <p14:creationId xmlns:p14="http://schemas.microsoft.com/office/powerpoint/2010/main" val="1450838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688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ová bublina 2"/>
          <p:cNvSpPr/>
          <p:nvPr/>
        </p:nvSpPr>
        <p:spPr>
          <a:xfrm>
            <a:off x="3289301" y="2049236"/>
            <a:ext cx="4825999" cy="2569028"/>
          </a:xfrm>
          <a:prstGeom prst="wedgeRectCallou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3200" b="1" dirty="0" smtClean="0">
                <a:solidFill>
                  <a:schemeClr val="tx1"/>
                </a:solidFill>
              </a:rPr>
              <a:t>Ďakujeme za pozornosť</a:t>
            </a:r>
          </a:p>
        </p:txBody>
      </p:sp>
    </p:spTree>
    <p:extLst>
      <p:ext uri="{BB962C8B-B14F-4D97-AF65-F5344CB8AC3E}">
        <p14:creationId xmlns:p14="http://schemas.microsoft.com/office/powerpoint/2010/main" val="3026663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83" name="Object 10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73" name="Rectangle 1029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919062" y="1240478"/>
            <a:ext cx="8496300" cy="498598"/>
          </a:xfrm>
        </p:spPr>
        <p:txBody>
          <a:bodyPr/>
          <a:lstStyle/>
          <a:p>
            <a:pPr algn="ctr"/>
            <a:r>
              <a:rPr lang="sk-SK" sz="3600" dirty="0" smtClean="0">
                <a:latin typeface="+mj-lt"/>
              </a:rPr>
              <a:t>NÁŠ DLHODOBÝ CIEĽ</a:t>
            </a:r>
            <a:endParaRPr lang="en-US" sz="3600" dirty="0" smtClean="0">
              <a:latin typeface="+mj-lt"/>
            </a:endParaRPr>
          </a:p>
        </p:txBody>
      </p:sp>
      <p:sp>
        <p:nvSpPr>
          <p:cNvPr id="58374" name="Rectangle 1030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1267733" y="1670133"/>
            <a:ext cx="9798957" cy="3533548"/>
          </a:xfrm>
        </p:spPr>
        <p:txBody>
          <a:bodyPr/>
          <a:lstStyle/>
          <a:p>
            <a:pPr lvl="1"/>
            <a:endParaRPr lang="sk-SK" sz="2400" dirty="0"/>
          </a:p>
          <a:p>
            <a:pPr lvl="1"/>
            <a:endParaRPr lang="sk-SK" sz="2400" i="1" dirty="0">
              <a:latin typeface="Calibri" panose="020F0502020204030204" pitchFamily="34" charset="0"/>
            </a:endParaRPr>
          </a:p>
          <a:p>
            <a:pPr lvl="1"/>
            <a:r>
              <a:rPr lang="sk-SK" sz="2400" i="1" dirty="0" smtClean="0">
                <a:latin typeface="Calibri" panose="020F0502020204030204" pitchFamily="34" charset="0"/>
                <a:cs typeface="Aharoni" panose="02010803020104030203" pitchFamily="2" charset="-79"/>
              </a:rPr>
              <a:t>	Vytvoriť </a:t>
            </a:r>
            <a:r>
              <a:rPr lang="sk-SK" sz="2400" i="1" dirty="0">
                <a:latin typeface="Calibri" panose="020F0502020204030204" pitchFamily="34" charset="0"/>
                <a:cs typeface="Aharoni" panose="02010803020104030203" pitchFamily="2" charset="-79"/>
              </a:rPr>
              <a:t>motivujúce prostredie, kde sa inakosť, či špecifické potreby nehodnotia, ale berú ako príležitosť. Prostredie, ktoré prispieva k spoločenskej zodpovednosti firmy kvalitou prípravy zamestnancov, služieb dostupných klientom s hendikepom a prekážkami v spoločnosti. Zároveň zvyšuje citlivosť svojich zamestnancov voči inakosti, pomáha búrať predsudky a stereotypy.  </a:t>
            </a:r>
            <a:endParaRPr lang="en-US" sz="2400" i="1" dirty="0">
              <a:latin typeface="Calibri" panose="020F0502020204030204" pitchFamily="34" charset="0"/>
              <a:cs typeface="Aharoni" panose="02010803020104030203" pitchFamily="2" charset="-79"/>
            </a:endParaRPr>
          </a:p>
          <a:p>
            <a:pPr marL="344488" lvl="1" indent="-342900">
              <a:buFont typeface="Wingdings" pitchFamily="2" charset="2"/>
              <a:buAutoNum type="arabicPeriod"/>
            </a:pPr>
            <a:endParaRPr lang="en-US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4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láčik 7"/>
          <p:cNvSpPr/>
          <p:nvPr/>
        </p:nvSpPr>
        <p:spPr>
          <a:xfrm>
            <a:off x="1543859" y="38943"/>
            <a:ext cx="6502400" cy="2233573"/>
          </a:xfrm>
          <a:prstGeom prst="cloudCallout">
            <a:avLst/>
          </a:prstGeom>
          <a:solidFill>
            <a:srgbClr val="FFEFF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4800" b="1" dirty="0" smtClean="0">
              <a:solidFill>
                <a:schemeClr val="tx1"/>
              </a:solidFill>
            </a:endParaRPr>
          </a:p>
          <a:p>
            <a:pPr algn="ctr"/>
            <a:r>
              <a:rPr lang="sk-SK" sz="4800" b="1" dirty="0" smtClean="0">
                <a:solidFill>
                  <a:schemeClr val="tx1"/>
                </a:solidFill>
                <a:latin typeface="+mj-lt"/>
              </a:rPr>
              <a:t>ROBIŤ VECI INAK</a:t>
            </a:r>
          </a:p>
          <a:p>
            <a:pPr algn="ctr"/>
            <a:r>
              <a:rPr lang="sk-SK" sz="4800" b="1" dirty="0" smtClean="0">
                <a:solidFill>
                  <a:schemeClr val="tx1"/>
                </a:solidFill>
              </a:rPr>
              <a:t>  </a:t>
            </a:r>
            <a:r>
              <a:rPr lang="sk-SK" sz="3600" b="1" dirty="0" smtClean="0">
                <a:solidFill>
                  <a:schemeClr val="tx1"/>
                </a:solidFill>
                <a:latin typeface="+mj-lt"/>
              </a:rPr>
              <a:t>komplexne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161470" y="2228849"/>
            <a:ext cx="4737101" cy="4162426"/>
          </a:xfrm>
          <a:ln>
            <a:solidFill>
              <a:schemeClr val="tx2"/>
            </a:solidFill>
          </a:ln>
        </p:spPr>
        <p:txBody>
          <a:bodyPr/>
          <a:lstStyle/>
          <a:p>
            <a:pPr marL="8550" lvl="1" algn="ctr" defTabSz="914400">
              <a:spcBef>
                <a:spcPct val="30000"/>
              </a:spcBef>
            </a:pPr>
            <a:r>
              <a:rPr lang="sk-SK" b="1" dirty="0" smtClean="0"/>
              <a:t>Ako sme vyrazili po Slovensku a v teréne sme diskutovali, vysvetľovali, zlaďovali a navzájom sa vzdelávali...</a:t>
            </a:r>
          </a:p>
          <a:p>
            <a:pPr marL="294300" lvl="1" indent="-285750" algn="ctr" defTabSz="914400">
              <a:spcBef>
                <a:spcPct val="30000"/>
              </a:spcBef>
              <a:buFont typeface="Wingdings" panose="05000000000000000000" pitchFamily="2" charset="2"/>
              <a:buChar char="v"/>
            </a:pPr>
            <a:endParaRPr lang="sk-SK" dirty="0"/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/>
              <a:t>V predných líniách sme pracovali s vybranými kolegami z ktorých sa stali Ambasádori </a:t>
            </a:r>
            <a:r>
              <a:rPr lang="sk-SK" dirty="0" err="1" smtClean="0"/>
              <a:t>Inkluzívnej</a:t>
            </a:r>
            <a:r>
              <a:rPr lang="sk-SK" dirty="0" smtClean="0"/>
              <a:t> starostlivosti. Títo kolegovia prechádzali tréningom s cieľom čo predsudky spôsobujú, aký to má vplyv priamo na ich prácu a ako pristupovať k našim zákazníkom so špecifickými potrebami</a:t>
            </a: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/>
              <a:t>Ambasádori prešli </a:t>
            </a:r>
            <a:r>
              <a:rPr lang="sk-SK" dirty="0" err="1" smtClean="0"/>
              <a:t>regulérnou</a:t>
            </a:r>
            <a:r>
              <a:rPr lang="sk-SK" dirty="0" smtClean="0"/>
              <a:t> skúškou a stali sa prvými držiteľmi certifikátov akreditovaných ministerstvom školstva v tejto oblasti.</a:t>
            </a: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/>
              <a:t>Workshopy a vzdelávanie rolujeme na predné línie kontinuálne prostredníctvom Ambasádorov a táto téma je súčasťou tréningov.</a:t>
            </a:r>
          </a:p>
          <a:p>
            <a:pPr marL="294300" lvl="1" indent="-285750" defTabSz="914400">
              <a:spcBef>
                <a:spcPct val="30000"/>
              </a:spcBef>
              <a:buFont typeface="Wingdings" panose="05000000000000000000" pitchFamily="2" charset="2"/>
              <a:buChar char="v"/>
            </a:pPr>
            <a:endParaRPr lang="sk-SK" dirty="0"/>
          </a:p>
        </p:txBody>
      </p:sp>
      <p:sp>
        <p:nvSpPr>
          <p:cNvPr id="12" name="Nadpis 1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276999"/>
          </a:xfrm>
        </p:spPr>
        <p:txBody>
          <a:bodyPr/>
          <a:lstStyle/>
          <a:p>
            <a:r>
              <a:rPr lang="sk-SK" sz="2000" dirty="0" smtClean="0"/>
              <a:t>Na počiatku bola myšlienka</a:t>
            </a:r>
            <a:endParaRPr lang="sk-SK" sz="2000" dirty="0"/>
          </a:p>
        </p:txBody>
      </p:sp>
      <p:sp>
        <p:nvSpPr>
          <p:cNvPr id="14" name="Zástupný symbol obsahu 2"/>
          <p:cNvSpPr>
            <a:spLocks noGrp="1"/>
          </p:cNvSpPr>
          <p:nvPr>
            <p:ph sz="half" idx="1"/>
          </p:nvPr>
        </p:nvSpPr>
        <p:spPr>
          <a:xfrm>
            <a:off x="5266079" y="2272516"/>
            <a:ext cx="4737101" cy="3787387"/>
          </a:xfrm>
          <a:ln>
            <a:solidFill>
              <a:schemeClr val="tx2"/>
            </a:solidFill>
          </a:ln>
        </p:spPr>
        <p:txBody>
          <a:bodyPr/>
          <a:lstStyle/>
          <a:p>
            <a:pPr marL="8550" lvl="1" algn="ctr" defTabSz="914400">
              <a:spcBef>
                <a:spcPct val="30000"/>
              </a:spcBef>
            </a:pPr>
            <a:endParaRPr lang="sk-SK" b="1" dirty="0" smtClean="0">
              <a:solidFill>
                <a:schemeClr val="tx2"/>
              </a:solidFill>
            </a:endParaRPr>
          </a:p>
          <a:p>
            <a:pPr marL="8550" lvl="1" algn="ctr" defTabSz="914400">
              <a:spcBef>
                <a:spcPct val="30000"/>
              </a:spcBef>
            </a:pPr>
            <a:endParaRPr lang="sk-SK" b="1" dirty="0">
              <a:solidFill>
                <a:schemeClr val="tx2"/>
              </a:solidFill>
            </a:endParaRPr>
          </a:p>
          <a:p>
            <a:pPr marL="8550" lvl="1" algn="ctr" defTabSz="914400">
              <a:spcBef>
                <a:spcPct val="30000"/>
              </a:spcBef>
            </a:pPr>
            <a:r>
              <a:rPr lang="sk-SK" b="1" dirty="0" smtClean="0">
                <a:solidFill>
                  <a:schemeClr val="tx2"/>
                </a:solidFill>
              </a:rPr>
              <a:t>Spustili </a:t>
            </a:r>
            <a:r>
              <a:rPr lang="sk-SK" b="1" dirty="0" smtClean="0">
                <a:solidFill>
                  <a:schemeClr val="tx2"/>
                </a:solidFill>
              </a:rPr>
              <a:t>sme komunikáciu v interných médiách a pridali sme k tomu aj vlastnú skúsenosť...</a:t>
            </a:r>
          </a:p>
          <a:p>
            <a:pPr marL="294300" lvl="1" indent="-285750" algn="ctr" defTabSz="914400">
              <a:spcBef>
                <a:spcPct val="30000"/>
              </a:spcBef>
              <a:buFont typeface="Wingdings" panose="05000000000000000000" pitchFamily="2" charset="2"/>
              <a:buChar char="v"/>
            </a:pPr>
            <a:endParaRPr lang="sk-SK" dirty="0">
              <a:solidFill>
                <a:schemeClr val="tx2"/>
              </a:solidFill>
            </a:endParaRP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>
                <a:solidFill>
                  <a:schemeClr val="tx2"/>
                </a:solidFill>
              </a:rPr>
              <a:t>Intranet, </a:t>
            </a:r>
            <a:r>
              <a:rPr lang="sk-SK" dirty="0" err="1" smtClean="0">
                <a:solidFill>
                  <a:schemeClr val="tx2"/>
                </a:solidFill>
              </a:rPr>
              <a:t>workplace</a:t>
            </a:r>
            <a:r>
              <a:rPr lang="sk-SK" dirty="0" smtClean="0">
                <a:solidFill>
                  <a:schemeClr val="tx2"/>
                </a:solidFill>
              </a:rPr>
              <a:t> (interná sociálna sieť </a:t>
            </a:r>
            <a:r>
              <a:rPr lang="sk-SK" dirty="0" smtClean="0">
                <a:solidFill>
                  <a:schemeClr val="tx2"/>
                </a:solidFill>
              </a:rPr>
              <a:t>FB/</a:t>
            </a:r>
            <a:r>
              <a:rPr lang="sk-SK" dirty="0" err="1" smtClean="0">
                <a:solidFill>
                  <a:schemeClr val="tx2"/>
                </a:solidFill>
              </a:rPr>
              <a:t>Workplace</a:t>
            </a:r>
            <a:r>
              <a:rPr lang="sk-SK" dirty="0" smtClean="0">
                <a:solidFill>
                  <a:schemeClr val="tx2"/>
                </a:solidFill>
              </a:rPr>
              <a:t>)</a:t>
            </a:r>
            <a:r>
              <a:rPr lang="sk-SK" dirty="0" smtClean="0">
                <a:solidFill>
                  <a:schemeClr val="tx2"/>
                </a:solidFill>
              </a:rPr>
              <a:t/>
            </a:r>
            <a:br>
              <a:rPr lang="sk-SK" dirty="0" smtClean="0">
                <a:solidFill>
                  <a:schemeClr val="tx2"/>
                </a:solidFill>
              </a:rPr>
            </a:br>
            <a:r>
              <a:rPr lang="sk-SK" dirty="0" smtClean="0">
                <a:solidFill>
                  <a:schemeClr val="tx2"/>
                </a:solidFill>
              </a:rPr>
              <a:t>plagáty</a:t>
            </a: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>
                <a:solidFill>
                  <a:schemeClr val="tx2"/>
                </a:solidFill>
              </a:rPr>
              <a:t>Interné </a:t>
            </a:r>
            <a:r>
              <a:rPr lang="sk-SK" dirty="0" err="1" smtClean="0">
                <a:solidFill>
                  <a:schemeClr val="tx2"/>
                </a:solidFill>
              </a:rPr>
              <a:t>promo</a:t>
            </a:r>
            <a:r>
              <a:rPr lang="sk-SK" dirty="0" smtClean="0">
                <a:solidFill>
                  <a:schemeClr val="tx2"/>
                </a:solidFill>
              </a:rPr>
              <a:t>: V inej koži</a:t>
            </a: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>
                <a:solidFill>
                  <a:schemeClr val="tx2"/>
                </a:solidFill>
              </a:rPr>
              <a:t>Online hra šitá  na mieru #</a:t>
            </a:r>
            <a:r>
              <a:rPr lang="sk-SK" dirty="0" err="1" smtClean="0">
                <a:solidFill>
                  <a:schemeClr val="tx2"/>
                </a:solidFill>
              </a:rPr>
              <a:t>nezivimpredsudky</a:t>
            </a:r>
            <a:endParaRPr lang="sk-SK" dirty="0" smtClean="0">
              <a:solidFill>
                <a:schemeClr val="tx2"/>
              </a:solidFill>
            </a:endParaRPr>
          </a:p>
          <a:p>
            <a:pPr marL="8550" lvl="1" algn="ctr" defTabSz="914400">
              <a:spcBef>
                <a:spcPct val="30000"/>
              </a:spcBef>
            </a:pPr>
            <a:r>
              <a:rPr lang="sk-SK" dirty="0" smtClean="0">
                <a:solidFill>
                  <a:schemeClr val="tx2"/>
                </a:solidFill>
              </a:rPr>
              <a:t>Časopis</a:t>
            </a:r>
            <a:endParaRPr lang="sk-SK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054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688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ová bublina 2"/>
          <p:cNvSpPr/>
          <p:nvPr/>
        </p:nvSpPr>
        <p:spPr>
          <a:xfrm>
            <a:off x="3289301" y="2049236"/>
            <a:ext cx="4825999" cy="2569028"/>
          </a:xfrm>
          <a:prstGeom prst="wedgeRectCallou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4400" b="1" dirty="0" smtClean="0">
                <a:solidFill>
                  <a:schemeClr val="bg1"/>
                </a:solidFill>
              </a:rPr>
              <a:t>2017 - 2018</a:t>
            </a:r>
            <a:endParaRPr lang="sk-SK" sz="44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981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ok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98" y="1524377"/>
            <a:ext cx="6750883" cy="3428623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smtClean="0"/>
              <a:t>WORSHOPY, </a:t>
            </a:r>
            <a:r>
              <a:rPr lang="sk-SK" dirty="0" err="1" smtClean="0"/>
              <a:t>AMBSASáDORI</a:t>
            </a:r>
            <a:r>
              <a:rPr lang="sk-SK" dirty="0" smtClean="0"/>
              <a:t> po </a:t>
            </a:r>
            <a:r>
              <a:rPr lang="sk-SK" dirty="0" err="1" smtClean="0"/>
              <a:t>slovensku</a:t>
            </a:r>
            <a:endParaRPr lang="sk-SK" dirty="0"/>
          </a:p>
        </p:txBody>
      </p:sp>
      <p:sp>
        <p:nvSpPr>
          <p:cNvPr id="9" name="BlokTextu 8"/>
          <p:cNvSpPr txBox="1"/>
          <p:nvPr/>
        </p:nvSpPr>
        <p:spPr>
          <a:xfrm>
            <a:off x="8601075" y="1514852"/>
            <a:ext cx="2590800" cy="2436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sk-SK" dirty="0" smtClean="0"/>
              <a:t>Workshopy a vzdelávanie prebiehalo priamo s našimi dobrovoľníkmi, ktorí s inakosťou doslova žijú....nepočujúci, </a:t>
            </a:r>
            <a:r>
              <a:rPr lang="sk-SK" dirty="0" err="1" smtClean="0"/>
              <a:t>nevidiaca</a:t>
            </a:r>
            <a:r>
              <a:rPr lang="sk-SK" dirty="0" smtClean="0"/>
              <a:t>, Rómka</a:t>
            </a:r>
            <a:r>
              <a:rPr lang="sk-SK" dirty="0" smtClean="0"/>
              <a:t>, </a:t>
            </a:r>
            <a:r>
              <a:rPr lang="sk-SK" dirty="0" smtClean="0"/>
              <a:t>vozíčkar </a:t>
            </a:r>
            <a:r>
              <a:rPr lang="sk-SK" dirty="0" smtClean="0"/>
              <a:t>– naši hlavní „skúšajúci</a:t>
            </a:r>
            <a:r>
              <a:rPr lang="sk-SK" dirty="0" smtClean="0"/>
              <a:t>“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sk-SK" dirty="0"/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40813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6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5111034" y="1484295"/>
            <a:ext cx="1563373" cy="2376655"/>
          </a:xfrm>
          <a:prstGeom prst="rect">
            <a:avLst/>
          </a:prstGeom>
        </p:spPr>
      </p:pic>
      <p:pic>
        <p:nvPicPr>
          <p:cNvPr id="8" name="Obrázok 7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878684" y="3946675"/>
            <a:ext cx="1760662" cy="2187425"/>
          </a:xfrm>
          <a:prstGeom prst="rect">
            <a:avLst/>
          </a:prstGeom>
        </p:spPr>
      </p:pic>
      <p:pic>
        <p:nvPicPr>
          <p:cNvPr id="9" name="Obrázo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681" y="1205478"/>
            <a:ext cx="1901660" cy="2655472"/>
          </a:xfrm>
          <a:prstGeom prst="rect">
            <a:avLst/>
          </a:prstGeom>
        </p:spPr>
      </p:pic>
      <p:pic>
        <p:nvPicPr>
          <p:cNvPr id="10" name="Obrázok 9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5053765" y="4223034"/>
            <a:ext cx="1591948" cy="1911066"/>
          </a:xfrm>
          <a:prstGeom prst="rect">
            <a:avLst/>
          </a:prstGeom>
        </p:spPr>
      </p:pic>
      <p:pic>
        <p:nvPicPr>
          <p:cNvPr id="11" name="Obrázok 10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2861336" y="2246800"/>
            <a:ext cx="1900800" cy="2656800"/>
          </a:xfrm>
          <a:prstGeom prst="rect">
            <a:avLst/>
          </a:prstGeom>
        </p:spPr>
      </p:pic>
      <p:pic>
        <p:nvPicPr>
          <p:cNvPr id="12" name="Obrázok 11"/>
          <p:cNvPicPr>
            <a:picLocks noChangeAspect="1"/>
          </p:cNvPicPr>
          <p:nvPr/>
        </p:nvPicPr>
        <p:blipFill rotWithShape="1">
          <a:blip r:embed="rId8"/>
          <a:srcRect l="749" t="695" b="462"/>
          <a:stretch/>
        </p:blipFill>
        <p:spPr>
          <a:xfrm>
            <a:off x="8103687" y="1484294"/>
            <a:ext cx="3686610" cy="5205695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830997"/>
          </a:xfrm>
        </p:spPr>
        <p:txBody>
          <a:bodyPr/>
          <a:lstStyle/>
          <a:p>
            <a:r>
              <a:rPr lang="sk-SK" dirty="0" smtClean="0"/>
              <a:t>PLAGÁTY</a:t>
            </a:r>
            <a:r>
              <a:rPr lang="en-US" dirty="0" smtClean="0"/>
              <a:t> #</a:t>
            </a:r>
            <a:r>
              <a:rPr lang="en-US" dirty="0" err="1" smtClean="0"/>
              <a:t>nezivimpredsudky</a:t>
            </a:r>
            <a:r>
              <a:rPr lang="sk-SK" dirty="0" smtClean="0"/>
              <a:t/>
            </a:r>
            <a:br>
              <a:rPr lang="sk-SK" dirty="0" smtClean="0"/>
            </a:br>
            <a:r>
              <a:rPr lang="sk-SK" dirty="0" smtClean="0"/>
              <a:t>                         Slová a Obrazy vytvárajú prostredie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38713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3250" y="1402497"/>
            <a:ext cx="9048750" cy="5760303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830997"/>
          </a:xfrm>
        </p:spPr>
        <p:txBody>
          <a:bodyPr/>
          <a:lstStyle/>
          <a:p>
            <a:r>
              <a:rPr lang="sk-SK" dirty="0" smtClean="0"/>
              <a:t>INTRANET</a:t>
            </a:r>
            <a:r>
              <a:rPr lang="en-US" dirty="0" smtClean="0"/>
              <a:t> #</a:t>
            </a:r>
            <a:r>
              <a:rPr lang="en-US" dirty="0" err="1" smtClean="0"/>
              <a:t>nezivimpredsudky</a:t>
            </a:r>
            <a:r>
              <a:rPr lang="sk-SK" dirty="0" smtClean="0"/>
              <a:t/>
            </a:r>
            <a:br>
              <a:rPr lang="sk-SK" dirty="0" smtClean="0"/>
            </a:br>
            <a:r>
              <a:rPr lang="sk-SK" dirty="0" smtClean="0"/>
              <a:t>                        Slová a Obrazy vytvárajú prostredie</a:t>
            </a:r>
            <a:endParaRPr lang="sk-SK" dirty="0"/>
          </a:p>
        </p:txBody>
      </p:sp>
      <p:pic>
        <p:nvPicPr>
          <p:cNvPr id="3" name="Obrázo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275" y="3286125"/>
            <a:ext cx="4842933" cy="2724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20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830997"/>
          </a:xfrm>
        </p:spPr>
        <p:txBody>
          <a:bodyPr/>
          <a:lstStyle/>
          <a:p>
            <a:r>
              <a:rPr lang="sk-SK" dirty="0" smtClean="0"/>
              <a:t>INTRANET</a:t>
            </a:r>
            <a:r>
              <a:rPr lang="en-US" dirty="0" smtClean="0"/>
              <a:t> #</a:t>
            </a:r>
            <a:r>
              <a:rPr lang="en-US" dirty="0" err="1" smtClean="0"/>
              <a:t>nezivimpredsudky</a:t>
            </a:r>
            <a:r>
              <a:rPr lang="sk-SK" dirty="0" smtClean="0"/>
              <a:t/>
            </a:r>
            <a:br>
              <a:rPr lang="sk-SK" dirty="0" smtClean="0"/>
            </a:br>
            <a:r>
              <a:rPr lang="sk-SK" dirty="0" smtClean="0"/>
              <a:t>                        Slová a Obrazy vytvárajú prostredie</a:t>
            </a:r>
            <a:endParaRPr lang="sk-SK" dirty="0"/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3650" y="1238250"/>
            <a:ext cx="9363075" cy="526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2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t2GHyXP0GVucpiMelX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Bg6pen4UmvJxVMjkNQ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Vu27cMk0.5DhAsWnS6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fbzT1bcUSs.FNzId_5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d1NlrTwUq3jrPuq8jI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NyStFQ2kS3b2Ngo1kE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Bg6pen4UmvJxVMjkNQQ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Wm0Y5r2UqXMVaiy8.p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EZnEKyfU.0pqeK4tgD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xKzRR.20aHmoSUzP5cb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1hoTFgnUmQlNDT_z6F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_Qdh86jEay6kvI0v5.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rI_l.V5EmwD6.z6u21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k1vz.VPk.INV4hWRVU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PzGl8NCECAtRkfrqiT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WK0DOMVEe6IRTEv1I8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eflVzlkaKbtlMi8o2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Dm3nq2Emi_Zzqpqfa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mcF8T_0EGXV0IdJLAG0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LSN079W0iGId8gmuTM1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FXZuqD20CY2niZ1sG_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PzGl8NCECAtRkfrqiT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WK0DOMVEe6IRTEv1I8i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eflVzlkaKbtlMi8o2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EDm3nq2Emi_Zzqpqfa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mcF8T_0EGXV0IdJLAG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LSN079W0iGId8gmuTM1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FXZuqD20CY2niZ1sG_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t2GHyXP0GVucpiMelXa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Bg6pen4UmvJxVMjkNQ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.Ngp_mEGBmbi5d3Gt7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ClE2xeHUyxVQNPTp22L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jCBUJ3DEO.QOOlM1oXo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ClE2xeHUyxVQNPTp22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jCBUJ3DEO.QOOlM1oX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zentácia_SK_standard_LFS2.0">
  <a:themeElements>
    <a:clrScheme name="TELEKOM_Master_SK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BABD5A"/>
      </a:accent2>
      <a:accent3>
        <a:srgbClr val="E20074"/>
      </a:accent3>
      <a:accent4>
        <a:srgbClr val="64B9E4"/>
      </a:accent4>
      <a:accent5>
        <a:srgbClr val="B48062"/>
      </a:accent5>
      <a:accent6>
        <a:srgbClr val="FDD167"/>
      </a:accent6>
      <a:hlink>
        <a:srgbClr val="E20074"/>
      </a:hlink>
      <a:folHlink>
        <a:srgbClr val="64B9E4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SK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427BAB"/>
        </a:accent1>
        <a:accent2>
          <a:srgbClr val="BABD5A"/>
        </a:accent2>
        <a:accent3>
          <a:srgbClr val="E20074"/>
        </a:accent3>
        <a:accent4>
          <a:srgbClr val="64B9E4"/>
        </a:accent4>
        <a:accent5>
          <a:srgbClr val="B48062"/>
        </a:accent5>
        <a:accent6>
          <a:srgbClr val="FDD167"/>
        </a:accent6>
        <a:hlink>
          <a:srgbClr val="E20074"/>
        </a:hlink>
        <a:folHlink>
          <a:srgbClr val="64B9E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1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25</TotalTime>
  <Words>789</Words>
  <Application>Microsoft Office PowerPoint</Application>
  <PresentationFormat>Širokouhlá</PresentationFormat>
  <Paragraphs>138</Paragraphs>
  <Slides>20</Slides>
  <Notes>14</Notes>
  <HiddenSlides>0</HiddenSlides>
  <MMClips>0</MMClips>
  <ScaleCrop>false</ScaleCrop>
  <HeadingPairs>
    <vt:vector size="8" baseType="variant">
      <vt:variant>
        <vt:lpstr>Použité písma</vt:lpstr>
      </vt:variant>
      <vt:variant>
        <vt:i4>9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20</vt:i4>
      </vt:variant>
    </vt:vector>
  </HeadingPairs>
  <TitlesOfParts>
    <vt:vector size="31" baseType="lpstr">
      <vt:lpstr>Aharoni</vt:lpstr>
      <vt:lpstr>Arial</vt:lpstr>
      <vt:lpstr>Calibri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Prezentácia_SK_standard_LFS2.0</vt:lpstr>
      <vt:lpstr>think-cell Slide</vt:lpstr>
      <vt:lpstr>#nezivimpredsudky </vt:lpstr>
      <vt:lpstr>PREČO</vt:lpstr>
      <vt:lpstr>NÁŠ DLHODOBÝ CIEĽ</vt:lpstr>
      <vt:lpstr>Na počiatku bola myšlienka</vt:lpstr>
      <vt:lpstr>Prezentácia programu PowerPoint</vt:lpstr>
      <vt:lpstr>WORSHOPY, AMBSASáDORI po slovensku</vt:lpstr>
      <vt:lpstr>PLAGÁTY #nezivimpredsudky                          Slová a Obrazy vytvárajú prostredie</vt:lpstr>
      <vt:lpstr>INTRANET #nezivimpredsudky                         Slová a Obrazy vytvárajú prostredie</vt:lpstr>
      <vt:lpstr>INTRANET #nezivimpredsudky                         Slová a Obrazy vytvárajú prostredie</vt:lpstr>
      <vt:lpstr>AKCIA „V INEJ KOŽI“                Príbehmi k poznaniu – zažime to spolu </vt:lpstr>
      <vt:lpstr>Prezentácia programu PowerPoint</vt:lpstr>
      <vt:lpstr>ReaKcie na sociálnej sieti WORKPLACE</vt:lpstr>
      <vt:lpstr>AKCIE PRE VEREJNOSŤ</vt:lpstr>
      <vt:lpstr>AKCIE PRE VEREJNOSŤ</vt:lpstr>
      <vt:lpstr>Prezentácia programu PowerPoint</vt:lpstr>
      <vt:lpstr>Prezentácia programu PowerPoint</vt:lpstr>
      <vt:lpstr>Prezentácia programu PowerPoint</vt:lpstr>
      <vt:lpstr>Prezentácia programu PowerPoint</vt:lpstr>
      <vt:lpstr>Spätná väzba #nezivimpredsudky Obohatilo MA o:</vt:lpstr>
      <vt:lpstr>Prezentácia programu PowerPoint</vt:lpstr>
    </vt:vector>
  </TitlesOfParts>
  <Company>Slovak Telek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GAGEMENT TO CEX CULTURE</dc:title>
  <dc:creator>Zolakova Kamila</dc:creator>
  <cp:lastModifiedBy>Svrckova Tatiana</cp:lastModifiedBy>
  <cp:revision>320</cp:revision>
  <cp:lastPrinted>2017-09-18T14:01:42Z</cp:lastPrinted>
  <dcterms:created xsi:type="dcterms:W3CDTF">2016-11-03T08:00:41Z</dcterms:created>
  <dcterms:modified xsi:type="dcterms:W3CDTF">2020-01-07T13:5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026547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</Properties>
</file>